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theme/theme2.xml" ContentType="application/vnd.openxmlformats-officedocument.theme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theme/theme3.xml" ContentType="application/vnd.openxmlformats-officedocument.theme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theme/theme4.xml" ContentType="application/vnd.openxmlformats-officedocument.theme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theme/theme5.xml" ContentType="application/vnd.openxmlformats-officedocument.theme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slideLayouts/slideLayout1417.xml" ContentType="application/vnd.openxmlformats-officedocument.presentationml.slideLayout+xml"/>
  <Override PartName="/ppt/slideLayouts/slideLayout1418.xml" ContentType="application/vnd.openxmlformats-officedocument.presentationml.slideLayout+xml"/>
  <Override PartName="/ppt/slideLayouts/slideLayout1419.xml" ContentType="application/vnd.openxmlformats-officedocument.presentationml.slideLayout+xml"/>
  <Override PartName="/ppt/slideLayouts/slideLayout1420.xml" ContentType="application/vnd.openxmlformats-officedocument.presentationml.slideLayout+xml"/>
  <Override PartName="/ppt/slideLayouts/slideLayout1421.xml" ContentType="application/vnd.openxmlformats-officedocument.presentationml.slideLayout+xml"/>
  <Override PartName="/ppt/slideLayouts/slideLayout1422.xml" ContentType="application/vnd.openxmlformats-officedocument.presentationml.slideLayout+xml"/>
  <Override PartName="/ppt/slideLayouts/slideLayout1423.xml" ContentType="application/vnd.openxmlformats-officedocument.presentationml.slideLayout+xml"/>
  <Override PartName="/ppt/slideLayouts/slideLayout1424.xml" ContentType="application/vnd.openxmlformats-officedocument.presentationml.slideLayout+xml"/>
  <Override PartName="/ppt/slideLayouts/slideLayout1425.xml" ContentType="application/vnd.openxmlformats-officedocument.presentationml.slideLayout+xml"/>
  <Override PartName="/ppt/slideLayouts/slideLayout1426.xml" ContentType="application/vnd.openxmlformats-officedocument.presentationml.slideLayout+xml"/>
  <Override PartName="/ppt/slideLayouts/slideLayout1427.xml" ContentType="application/vnd.openxmlformats-officedocument.presentationml.slideLayout+xml"/>
  <Override PartName="/ppt/slideLayouts/slideLayout1428.xml" ContentType="application/vnd.openxmlformats-officedocument.presentationml.slideLayout+xml"/>
  <Override PartName="/ppt/slideLayouts/slideLayout1429.xml" ContentType="application/vnd.openxmlformats-officedocument.presentationml.slideLayout+xml"/>
  <Override PartName="/ppt/slideLayouts/slideLayout1430.xml" ContentType="application/vnd.openxmlformats-officedocument.presentationml.slideLayout+xml"/>
  <Override PartName="/ppt/slideLayouts/slideLayout1431.xml" ContentType="application/vnd.openxmlformats-officedocument.presentationml.slideLayout+xml"/>
  <Override PartName="/ppt/slideLayouts/slideLayout1432.xml" ContentType="application/vnd.openxmlformats-officedocument.presentationml.slideLayout+xml"/>
  <Override PartName="/ppt/slideLayouts/slideLayout1433.xml" ContentType="application/vnd.openxmlformats-officedocument.presentationml.slideLayout+xml"/>
  <Override PartName="/ppt/slideLayouts/slideLayout1434.xml" ContentType="application/vnd.openxmlformats-officedocument.presentationml.slideLayout+xml"/>
  <Override PartName="/ppt/slideLayouts/slideLayout1435.xml" ContentType="application/vnd.openxmlformats-officedocument.presentationml.slideLayout+xml"/>
  <Override PartName="/ppt/slideLayouts/slideLayout1436.xml" ContentType="application/vnd.openxmlformats-officedocument.presentationml.slideLayout+xml"/>
  <Override PartName="/ppt/slideLayouts/slideLayout1437.xml" ContentType="application/vnd.openxmlformats-officedocument.presentationml.slideLayout+xml"/>
  <Override PartName="/ppt/slideLayouts/slideLayout1438.xml" ContentType="application/vnd.openxmlformats-officedocument.presentationml.slideLayout+xml"/>
  <Override PartName="/ppt/slideLayouts/slideLayout1439.xml" ContentType="application/vnd.openxmlformats-officedocument.presentationml.slideLayout+xml"/>
  <Override PartName="/ppt/slideLayouts/slideLayout1440.xml" ContentType="application/vnd.openxmlformats-officedocument.presentationml.slideLayout+xml"/>
  <Override PartName="/ppt/slideLayouts/slideLayout1441.xml" ContentType="application/vnd.openxmlformats-officedocument.presentationml.slideLayout+xml"/>
  <Override PartName="/ppt/slideLayouts/slideLayout1442.xml" ContentType="application/vnd.openxmlformats-officedocument.presentationml.slideLayout+xml"/>
  <Override PartName="/ppt/slideLayouts/slideLayout1443.xml" ContentType="application/vnd.openxmlformats-officedocument.presentationml.slideLayout+xml"/>
  <Override PartName="/ppt/slideLayouts/slideLayout1444.xml" ContentType="application/vnd.openxmlformats-officedocument.presentationml.slideLayout+xml"/>
  <Override PartName="/ppt/slideLayouts/slideLayout1445.xml" ContentType="application/vnd.openxmlformats-officedocument.presentationml.slideLayout+xml"/>
  <Override PartName="/ppt/slideLayouts/slideLayout1446.xml" ContentType="application/vnd.openxmlformats-officedocument.presentationml.slideLayout+xml"/>
  <Override PartName="/ppt/slideLayouts/slideLayout1447.xml" ContentType="application/vnd.openxmlformats-officedocument.presentationml.slideLayout+xml"/>
  <Override PartName="/ppt/slideLayouts/slideLayout1448.xml" ContentType="application/vnd.openxmlformats-officedocument.presentationml.slideLayout+xml"/>
  <Override PartName="/ppt/slideLayouts/slideLayout1449.xml" ContentType="application/vnd.openxmlformats-officedocument.presentationml.slideLayout+xml"/>
  <Override PartName="/ppt/slideLayouts/slideLayout1450.xml" ContentType="application/vnd.openxmlformats-officedocument.presentationml.slideLayout+xml"/>
  <Override PartName="/ppt/slideLayouts/slideLayout1451.xml" ContentType="application/vnd.openxmlformats-officedocument.presentationml.slideLayout+xml"/>
  <Override PartName="/ppt/slideLayouts/slideLayout1452.xml" ContentType="application/vnd.openxmlformats-officedocument.presentationml.slideLayout+xml"/>
  <Override PartName="/ppt/slideLayouts/slideLayout1453.xml" ContentType="application/vnd.openxmlformats-officedocument.presentationml.slideLayout+xml"/>
  <Override PartName="/ppt/slideLayouts/slideLayout1454.xml" ContentType="application/vnd.openxmlformats-officedocument.presentationml.slideLayout+xml"/>
  <Override PartName="/ppt/slideLayouts/slideLayout1455.xml" ContentType="application/vnd.openxmlformats-officedocument.presentationml.slideLayout+xml"/>
  <Override PartName="/ppt/slideLayouts/slideLayout1456.xml" ContentType="application/vnd.openxmlformats-officedocument.presentationml.slideLayout+xml"/>
  <Override PartName="/ppt/slideLayouts/slideLayout1457.xml" ContentType="application/vnd.openxmlformats-officedocument.presentationml.slideLayout+xml"/>
  <Override PartName="/ppt/slideLayouts/slideLayout1458.xml" ContentType="application/vnd.openxmlformats-officedocument.presentationml.slideLayout+xml"/>
  <Override PartName="/ppt/slideLayouts/slideLayout1459.xml" ContentType="application/vnd.openxmlformats-officedocument.presentationml.slideLayout+xml"/>
  <Override PartName="/ppt/slideLayouts/slideLayout1460.xml" ContentType="application/vnd.openxmlformats-officedocument.presentationml.slideLayout+xml"/>
  <Override PartName="/ppt/slideLayouts/slideLayout1461.xml" ContentType="application/vnd.openxmlformats-officedocument.presentationml.slideLayout+xml"/>
  <Override PartName="/ppt/slideLayouts/slideLayout1462.xml" ContentType="application/vnd.openxmlformats-officedocument.presentationml.slideLayout+xml"/>
  <Override PartName="/ppt/slideLayouts/slideLayout1463.xml" ContentType="application/vnd.openxmlformats-officedocument.presentationml.slideLayout+xml"/>
  <Override PartName="/ppt/slideLayouts/slideLayout1464.xml" ContentType="application/vnd.openxmlformats-officedocument.presentationml.slideLayout+xml"/>
  <Override PartName="/ppt/slideLayouts/slideLayout1465.xml" ContentType="application/vnd.openxmlformats-officedocument.presentationml.slideLayout+xml"/>
  <Override PartName="/ppt/slideLayouts/slideLayout1466.xml" ContentType="application/vnd.openxmlformats-officedocument.presentationml.slideLayout+xml"/>
  <Override PartName="/ppt/slideLayouts/slideLayout1467.xml" ContentType="application/vnd.openxmlformats-officedocument.presentationml.slideLayout+xml"/>
  <Override PartName="/ppt/slideLayouts/slideLayout1468.xml" ContentType="application/vnd.openxmlformats-officedocument.presentationml.slideLayout+xml"/>
  <Override PartName="/ppt/slideLayouts/slideLayout1469.xml" ContentType="application/vnd.openxmlformats-officedocument.presentationml.slideLayout+xml"/>
  <Override PartName="/ppt/slideLayouts/slideLayout1470.xml" ContentType="application/vnd.openxmlformats-officedocument.presentationml.slideLayout+xml"/>
  <Override PartName="/ppt/slideLayouts/slideLayout1471.xml" ContentType="application/vnd.openxmlformats-officedocument.presentationml.slideLayout+xml"/>
  <Override PartName="/ppt/slideLayouts/slideLayout1472.xml" ContentType="application/vnd.openxmlformats-officedocument.presentationml.slideLayout+xml"/>
  <Override PartName="/ppt/slideLayouts/slideLayout1473.xml" ContentType="application/vnd.openxmlformats-officedocument.presentationml.slideLayout+xml"/>
  <Override PartName="/ppt/slideLayouts/slideLayout1474.xml" ContentType="application/vnd.openxmlformats-officedocument.presentationml.slideLayout+xml"/>
  <Override PartName="/ppt/slideLayouts/slideLayout1475.xml" ContentType="application/vnd.openxmlformats-officedocument.presentationml.slideLayout+xml"/>
  <Override PartName="/ppt/slideLayouts/slideLayout1476.xml" ContentType="application/vnd.openxmlformats-officedocument.presentationml.slideLayout+xml"/>
  <Override PartName="/ppt/slideLayouts/slideLayout1477.xml" ContentType="application/vnd.openxmlformats-officedocument.presentationml.slideLayout+xml"/>
  <Override PartName="/ppt/slideLayouts/slideLayout1478.xml" ContentType="application/vnd.openxmlformats-officedocument.presentationml.slideLayout+xml"/>
  <Override PartName="/ppt/slideLayouts/slideLayout1479.xml" ContentType="application/vnd.openxmlformats-officedocument.presentationml.slideLayout+xml"/>
  <Override PartName="/ppt/slideLayouts/slideLayout1480.xml" ContentType="application/vnd.openxmlformats-officedocument.presentationml.slideLayout+xml"/>
  <Override PartName="/ppt/slideLayouts/slideLayout1481.xml" ContentType="application/vnd.openxmlformats-officedocument.presentationml.slideLayout+xml"/>
  <Override PartName="/ppt/slideLayouts/slideLayout1482.xml" ContentType="application/vnd.openxmlformats-officedocument.presentationml.slideLayout+xml"/>
  <Override PartName="/ppt/slideLayouts/slideLayout1483.xml" ContentType="application/vnd.openxmlformats-officedocument.presentationml.slideLayout+xml"/>
  <Override PartName="/ppt/slideLayouts/slideLayout1484.xml" ContentType="application/vnd.openxmlformats-officedocument.presentationml.slideLayout+xml"/>
  <Override PartName="/ppt/slideLayouts/slideLayout1485.xml" ContentType="application/vnd.openxmlformats-officedocument.presentationml.slideLayout+xml"/>
  <Override PartName="/ppt/slideLayouts/slideLayout1486.xml" ContentType="application/vnd.openxmlformats-officedocument.presentationml.slideLayout+xml"/>
  <Override PartName="/ppt/slideLayouts/slideLayout1487.xml" ContentType="application/vnd.openxmlformats-officedocument.presentationml.slideLayout+xml"/>
  <Override PartName="/ppt/slideLayouts/slideLayout1488.xml" ContentType="application/vnd.openxmlformats-officedocument.presentationml.slideLayout+xml"/>
  <Override PartName="/ppt/slideLayouts/slideLayout1489.xml" ContentType="application/vnd.openxmlformats-officedocument.presentationml.slideLayout+xml"/>
  <Override PartName="/ppt/slideLayouts/slideLayout1490.xml" ContentType="application/vnd.openxmlformats-officedocument.presentationml.slideLayout+xml"/>
  <Override PartName="/ppt/slideLayouts/slideLayout1491.xml" ContentType="application/vnd.openxmlformats-officedocument.presentationml.slideLayout+xml"/>
  <Override PartName="/ppt/slideLayouts/slideLayout1492.xml" ContentType="application/vnd.openxmlformats-officedocument.presentationml.slideLayout+xml"/>
  <Override PartName="/ppt/slideLayouts/slideLayout1493.xml" ContentType="application/vnd.openxmlformats-officedocument.presentationml.slideLayout+xml"/>
  <Override PartName="/ppt/slideLayouts/slideLayout1494.xml" ContentType="application/vnd.openxmlformats-officedocument.presentationml.slideLayout+xml"/>
  <Override PartName="/ppt/slideLayouts/slideLayout1495.xml" ContentType="application/vnd.openxmlformats-officedocument.presentationml.slideLayout+xml"/>
  <Override PartName="/ppt/slideLayouts/slideLayout1496.xml" ContentType="application/vnd.openxmlformats-officedocument.presentationml.slideLayout+xml"/>
  <Override PartName="/ppt/slideLayouts/slideLayout1497.xml" ContentType="application/vnd.openxmlformats-officedocument.presentationml.slideLayout+xml"/>
  <Override PartName="/ppt/slideLayouts/slideLayout1498.xml" ContentType="application/vnd.openxmlformats-officedocument.presentationml.slideLayout+xml"/>
  <Override PartName="/ppt/slideLayouts/slideLayout1499.xml" ContentType="application/vnd.openxmlformats-officedocument.presentationml.slideLayout+xml"/>
  <Override PartName="/ppt/slideLayouts/slideLayout1500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501.xml" ContentType="application/vnd.openxmlformats-officedocument.presentationml.slideLayout+xml"/>
  <Override PartName="/ppt/slideLayouts/slideLayout1502.xml" ContentType="application/vnd.openxmlformats-officedocument.presentationml.slideLayout+xml"/>
  <Override PartName="/ppt/slideLayouts/slideLayout1503.xml" ContentType="application/vnd.openxmlformats-officedocument.presentationml.slideLayout+xml"/>
  <Override PartName="/ppt/slideLayouts/slideLayout1504.xml" ContentType="application/vnd.openxmlformats-officedocument.presentationml.slideLayout+xml"/>
  <Override PartName="/ppt/slideLayouts/slideLayout1505.xml" ContentType="application/vnd.openxmlformats-officedocument.presentationml.slideLayout+xml"/>
  <Override PartName="/ppt/slideLayouts/slideLayout1506.xml" ContentType="application/vnd.openxmlformats-officedocument.presentationml.slideLayout+xml"/>
  <Override PartName="/ppt/slideLayouts/slideLayout1507.xml" ContentType="application/vnd.openxmlformats-officedocument.presentationml.slideLayout+xml"/>
  <Override PartName="/ppt/slideLayouts/slideLayout1508.xml" ContentType="application/vnd.openxmlformats-officedocument.presentationml.slideLayout+xml"/>
  <Override PartName="/ppt/slideLayouts/slideLayout1509.xml" ContentType="application/vnd.openxmlformats-officedocument.presentationml.slideLayout+xml"/>
  <Override PartName="/ppt/slideLayouts/slideLayout1510.xml" ContentType="application/vnd.openxmlformats-officedocument.presentationml.slideLayout+xml"/>
  <Override PartName="/ppt/slideLayouts/slideLayout1511.xml" ContentType="application/vnd.openxmlformats-officedocument.presentationml.slideLayout+xml"/>
  <Override PartName="/ppt/slideLayouts/slideLayout1512.xml" ContentType="application/vnd.openxmlformats-officedocument.presentationml.slideLayout+xml"/>
  <Override PartName="/ppt/slideLayouts/slideLayout1513.xml" ContentType="application/vnd.openxmlformats-officedocument.presentationml.slideLayout+xml"/>
  <Override PartName="/ppt/theme/theme7.xml" ContentType="application/vnd.openxmlformats-officedocument.theme+xml"/>
  <Override PartName="/ppt/slideLayouts/slideLayout1514.xml" ContentType="application/vnd.openxmlformats-officedocument.presentationml.slideLayout+xml"/>
  <Override PartName="/ppt/slideLayouts/slideLayout1515.xml" ContentType="application/vnd.openxmlformats-officedocument.presentationml.slideLayout+xml"/>
  <Override PartName="/ppt/slideLayouts/slideLayout1516.xml" ContentType="application/vnd.openxmlformats-officedocument.presentationml.slideLayout+xml"/>
  <Override PartName="/ppt/slideLayouts/slideLayout1517.xml" ContentType="application/vnd.openxmlformats-officedocument.presentationml.slideLayout+xml"/>
  <Override PartName="/ppt/slideLayouts/slideLayout1518.xml" ContentType="application/vnd.openxmlformats-officedocument.presentationml.slideLayout+xml"/>
  <Override PartName="/ppt/slideLayouts/slideLayout1519.xml" ContentType="application/vnd.openxmlformats-officedocument.presentationml.slideLayout+xml"/>
  <Override PartName="/ppt/slideLayouts/slideLayout1520.xml" ContentType="application/vnd.openxmlformats-officedocument.presentationml.slideLayout+xml"/>
  <Override PartName="/ppt/slideLayouts/slideLayout1521.xml" ContentType="application/vnd.openxmlformats-officedocument.presentationml.slideLayout+xml"/>
  <Override PartName="/ppt/slideLayouts/slideLayout1522.xml" ContentType="application/vnd.openxmlformats-officedocument.presentationml.slideLayout+xml"/>
  <Override PartName="/ppt/slideLayouts/slideLayout1523.xml" ContentType="application/vnd.openxmlformats-officedocument.presentationml.slideLayout+xml"/>
  <Override PartName="/ppt/slideLayouts/slideLayout1524.xml" ContentType="application/vnd.openxmlformats-officedocument.presentationml.slideLayout+xml"/>
  <Override PartName="/ppt/theme/theme8.xml" ContentType="application/vnd.openxmlformats-officedocument.theme+xml"/>
  <Override PartName="/ppt/slideLayouts/slideLayout1525.xml" ContentType="application/vnd.openxmlformats-officedocument.presentationml.slideLayout+xml"/>
  <Override PartName="/ppt/slideLayouts/slideLayout1526.xml" ContentType="application/vnd.openxmlformats-officedocument.presentationml.slideLayout+xml"/>
  <Override PartName="/ppt/slideLayouts/slideLayout1527.xml" ContentType="application/vnd.openxmlformats-officedocument.presentationml.slideLayout+xml"/>
  <Override PartName="/ppt/slideLayouts/slideLayout1528.xml" ContentType="application/vnd.openxmlformats-officedocument.presentationml.slideLayout+xml"/>
  <Override PartName="/ppt/slideLayouts/slideLayout1529.xml" ContentType="application/vnd.openxmlformats-officedocument.presentationml.slideLayout+xml"/>
  <Override PartName="/ppt/slideLayouts/slideLayout1530.xml" ContentType="application/vnd.openxmlformats-officedocument.presentationml.slideLayout+xml"/>
  <Override PartName="/ppt/slideLayouts/slideLayout1531.xml" ContentType="application/vnd.openxmlformats-officedocument.presentationml.slideLayout+xml"/>
  <Override PartName="/ppt/slideLayouts/slideLayout1532.xml" ContentType="application/vnd.openxmlformats-officedocument.presentationml.slideLayout+xml"/>
  <Override PartName="/ppt/slideLayouts/slideLayout1533.xml" ContentType="application/vnd.openxmlformats-officedocument.presentationml.slideLayout+xml"/>
  <Override PartName="/ppt/slideLayouts/slideLayout1534.xml" ContentType="application/vnd.openxmlformats-officedocument.presentationml.slideLayout+xml"/>
  <Override PartName="/ppt/slideLayouts/slideLayout1535.xml" ContentType="application/vnd.openxmlformats-officedocument.presentationml.slideLayout+xml"/>
  <Override PartName="/ppt/slideLayouts/slideLayout1536.xml" ContentType="application/vnd.openxmlformats-officedocument.presentationml.slideLayout+xml"/>
  <Override PartName="/ppt/theme/theme9.xml" ContentType="application/vnd.openxmlformats-officedocument.theme+xml"/>
  <Override PartName="/ppt/slideLayouts/slideLayout1537.xml" ContentType="application/vnd.openxmlformats-officedocument.presentationml.slideLayout+xml"/>
  <Override PartName="/ppt/slideLayouts/slideLayout1538.xml" ContentType="application/vnd.openxmlformats-officedocument.presentationml.slideLayout+xml"/>
  <Override PartName="/ppt/slideLayouts/slideLayout1539.xml" ContentType="application/vnd.openxmlformats-officedocument.presentationml.slideLayout+xml"/>
  <Override PartName="/ppt/slideLayouts/slideLayout1540.xml" ContentType="application/vnd.openxmlformats-officedocument.presentationml.slideLayout+xml"/>
  <Override PartName="/ppt/slideLayouts/slideLayout1541.xml" ContentType="application/vnd.openxmlformats-officedocument.presentationml.slideLayout+xml"/>
  <Override PartName="/ppt/slideLayouts/slideLayout1542.xml" ContentType="application/vnd.openxmlformats-officedocument.presentationml.slideLayout+xml"/>
  <Override PartName="/ppt/slideLayouts/slideLayout1543.xml" ContentType="application/vnd.openxmlformats-officedocument.presentationml.slideLayout+xml"/>
  <Override PartName="/ppt/slideLayouts/slideLayout1544.xml" ContentType="application/vnd.openxmlformats-officedocument.presentationml.slideLayout+xml"/>
  <Override PartName="/ppt/slideLayouts/slideLayout1545.xml" ContentType="application/vnd.openxmlformats-officedocument.presentationml.slideLayout+xml"/>
  <Override PartName="/ppt/slideLayouts/slideLayout1546.xml" ContentType="application/vnd.openxmlformats-officedocument.presentationml.slideLayout+xml"/>
  <Override PartName="/ppt/slideLayouts/slideLayout1547.xml" ContentType="application/vnd.openxmlformats-officedocument.presentationml.slideLayout+xml"/>
  <Override PartName="/ppt/theme/theme10.xml" ContentType="application/vnd.openxmlformats-officedocument.theme+xml"/>
  <Override PartName="/ppt/slideLayouts/slideLayout1548.xml" ContentType="application/vnd.openxmlformats-officedocument.presentationml.slideLayout+xml"/>
  <Override PartName="/ppt/slideLayouts/slideLayout1549.xml" ContentType="application/vnd.openxmlformats-officedocument.presentationml.slideLayout+xml"/>
  <Override PartName="/ppt/slideLayouts/slideLayout1550.xml" ContentType="application/vnd.openxmlformats-officedocument.presentationml.slideLayout+xml"/>
  <Override PartName="/ppt/slideLayouts/slideLayout1551.xml" ContentType="application/vnd.openxmlformats-officedocument.presentationml.slideLayout+xml"/>
  <Override PartName="/ppt/slideLayouts/slideLayout1552.xml" ContentType="application/vnd.openxmlformats-officedocument.presentationml.slideLayout+xml"/>
  <Override PartName="/ppt/slideLayouts/slideLayout1553.xml" ContentType="application/vnd.openxmlformats-officedocument.presentationml.slideLayout+xml"/>
  <Override PartName="/ppt/slideLayouts/slideLayout1554.xml" ContentType="application/vnd.openxmlformats-officedocument.presentationml.slideLayout+xml"/>
  <Override PartName="/ppt/slideLayouts/slideLayout1555.xml" ContentType="application/vnd.openxmlformats-officedocument.presentationml.slideLayout+xml"/>
  <Override PartName="/ppt/slideLayouts/slideLayout1556.xml" ContentType="application/vnd.openxmlformats-officedocument.presentationml.slideLayout+xml"/>
  <Override PartName="/ppt/slideLayouts/slideLayout1557.xml" ContentType="application/vnd.openxmlformats-officedocument.presentationml.slideLayout+xml"/>
  <Override PartName="/ppt/slideLayouts/slideLayout1558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1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921" r:id="rId2"/>
    <p:sldMasterId id="2147484071" r:id="rId3"/>
    <p:sldMasterId id="2147485679" r:id="rId4"/>
    <p:sldMasterId id="2147485626" r:id="rId5"/>
    <p:sldMasterId id="2147485628" r:id="rId6"/>
    <p:sldMasterId id="2147485582" r:id="rId7"/>
    <p:sldMasterId id="2147486664" r:id="rId8"/>
    <p:sldMasterId id="2147486666" r:id="rId9"/>
    <p:sldMasterId id="2147486679" r:id="rId10"/>
    <p:sldMasterId id="2147483661" r:id="rId11"/>
  </p:sldMasterIdLst>
  <p:notesMasterIdLst>
    <p:notesMasterId r:id="rId57"/>
  </p:notesMasterIdLst>
  <p:sldIdLst>
    <p:sldId id="256" r:id="rId12"/>
    <p:sldId id="257" r:id="rId13"/>
    <p:sldId id="443" r:id="rId14"/>
    <p:sldId id="442" r:id="rId15"/>
    <p:sldId id="841" r:id="rId16"/>
    <p:sldId id="258" r:id="rId17"/>
    <p:sldId id="335" r:id="rId18"/>
    <p:sldId id="336" r:id="rId19"/>
    <p:sldId id="842" r:id="rId20"/>
    <p:sldId id="262" r:id="rId21"/>
    <p:sldId id="840" r:id="rId22"/>
    <p:sldId id="265" r:id="rId23"/>
    <p:sldId id="266" r:id="rId24"/>
    <p:sldId id="268" r:id="rId25"/>
    <p:sldId id="858" r:id="rId26"/>
    <p:sldId id="270" r:id="rId27"/>
    <p:sldId id="852" r:id="rId28"/>
    <p:sldId id="849" r:id="rId29"/>
    <p:sldId id="855" r:id="rId30"/>
    <p:sldId id="859" r:id="rId31"/>
    <p:sldId id="856" r:id="rId32"/>
    <p:sldId id="854" r:id="rId33"/>
    <p:sldId id="851" r:id="rId34"/>
    <p:sldId id="259" r:id="rId35"/>
    <p:sldId id="317" r:id="rId36"/>
    <p:sldId id="328" r:id="rId37"/>
    <p:sldId id="327" r:id="rId38"/>
    <p:sldId id="847" r:id="rId39"/>
    <p:sldId id="318" r:id="rId40"/>
    <p:sldId id="860" r:id="rId41"/>
    <p:sldId id="861" r:id="rId42"/>
    <p:sldId id="862" r:id="rId43"/>
    <p:sldId id="319" r:id="rId44"/>
    <p:sldId id="2145707983" r:id="rId45"/>
    <p:sldId id="2145707956" r:id="rId46"/>
    <p:sldId id="2145707981" r:id="rId47"/>
    <p:sldId id="2145707986" r:id="rId48"/>
    <p:sldId id="2145707985" r:id="rId49"/>
    <p:sldId id="2145707984" r:id="rId50"/>
    <p:sldId id="320" r:id="rId51"/>
    <p:sldId id="321" r:id="rId52"/>
    <p:sldId id="845" r:id="rId53"/>
    <p:sldId id="322" r:id="rId54"/>
    <p:sldId id="846" r:id="rId55"/>
    <p:sldId id="323" r:id="rId56"/>
  </p:sldIdLst>
  <p:sldSz cx="12192000" cy="6858000"/>
  <p:notesSz cx="6858000" cy="9144000"/>
  <p:embeddedFontLst>
    <p:embeddedFont>
      <p:font typeface="Cambria" panose="02040503050406030204" pitchFamily="18" charset="0"/>
      <p:regular r:id="rId58"/>
      <p:bold r:id="rId59"/>
      <p:italic r:id="rId60"/>
      <p:boldItalic r:id="rId61"/>
    </p:embeddedFont>
    <p:embeddedFont>
      <p:font typeface="Goudy Old Style" panose="02020502050305020303" pitchFamily="18" charset="0"/>
      <p:regular r:id="rId62"/>
      <p:bold r:id="rId63"/>
      <p:italic r:id="rId64"/>
    </p:embeddedFont>
    <p:embeddedFont>
      <p:font typeface="Helvetica Neue" panose="020B0604020202020204" charset="0"/>
      <p:regular r:id="rId65"/>
      <p:bold r:id="rId66"/>
      <p:italic r:id="rId67"/>
      <p:boldItalic r:id="rId68"/>
    </p:embeddedFont>
    <p:embeddedFont>
      <p:font typeface="Lato" panose="020F0502020204030203" pitchFamily="34" charset="0"/>
      <p:regular r:id="rId69"/>
      <p:bold r:id="rId70"/>
      <p:italic r:id="rId71"/>
      <p:boldItalic r:id="rId72"/>
    </p:embeddedFont>
    <p:embeddedFont>
      <p:font typeface="Lato Medium" panose="020F0502020204030203" pitchFamily="34" charset="0"/>
      <p:regular r:id="rId73"/>
      <p:italic r:id="rId74"/>
    </p:embeddedFont>
    <p:embeddedFont>
      <p:font typeface="Palatino Linotype" panose="02040502050505030304" pitchFamily="18" charset="0"/>
      <p:regular r:id="rId75"/>
      <p:bold r:id="rId76"/>
      <p:italic r:id="rId77"/>
      <p:boldItalic r:id="rId78"/>
    </p:embeddedFont>
    <p:embeddedFont>
      <p:font typeface="Prompt" panose="00000500000000000000" pitchFamily="2" charset="-34"/>
      <p:regular r:id="rId79"/>
      <p:bold r:id="rId80"/>
      <p:italic r:id="rId81"/>
      <p:boldItalic r:id="rId82"/>
    </p:embeddedFont>
    <p:embeddedFont>
      <p:font typeface="Prompt Bold" panose="00000800000000000000" pitchFamily="2" charset="-34"/>
      <p:bold r:id="rId83"/>
    </p:embeddedFont>
    <p:embeddedFont>
      <p:font typeface="Staatliches" pitchFamily="2" charset="0"/>
      <p:regular r:id="rId84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05" roundtripDataSignature="AMtx7mj2bU3F9M/eAtc9o35hraHKA9qbx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9C86ED-F610-587A-D60F-FA2270DC54ED}" v="1" dt="2024-02-14T14:57:37.795"/>
    <p1510:client id="{88E86513-FF47-C305-D1A3-845B4E6E536E}" v="13" dt="2024-02-15T01:35:20.483"/>
  </p1510:revLst>
</p1510:revInfo>
</file>

<file path=ppt/tableStyles.xml><?xml version="1.0" encoding="utf-8"?>
<a:tblStyleLst xmlns:a="http://schemas.openxmlformats.org/drawingml/2006/main" def="{54556ADF-2B93-452C-9A2B-54F70BC1554F}">
  <a:tblStyle styleId="{54556ADF-2B93-452C-9A2B-54F70BC1554F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7E8ED"/>
          </a:solidFill>
        </a:fill>
      </a:tcStyle>
    </a:wholeTbl>
    <a:band1H>
      <a:tcTxStyle/>
      <a:tcStyle>
        <a:tcBdr/>
        <a:fill>
          <a:solidFill>
            <a:srgbClr val="CBCED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BCED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0C3910E3-FE60-403B-803A-D4D95C852511}" styleName="Table_1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7E8ED"/>
          </a:solidFill>
        </a:fill>
      </a:tcStyle>
    </a:wholeTbl>
    <a:band1H>
      <a:tcTxStyle b="off" i="off"/>
      <a:tcStyle>
        <a:tcBdr/>
        <a:fill>
          <a:solidFill>
            <a:srgbClr val="CBCEDA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CBCEDA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907AF9B1-F0F0-4187-A23C-68A95F3377F3}" styleName="Table_2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DECEA"/>
          </a:solidFill>
        </a:fill>
      </a:tcStyle>
    </a:wholeTbl>
    <a:band1H>
      <a:tcTxStyle b="off" i="off"/>
      <a:tcStyle>
        <a:tcBdr/>
        <a:fill>
          <a:solidFill>
            <a:srgbClr val="FBD8D2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FBD8D2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3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3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63" Type="http://schemas.openxmlformats.org/officeDocument/2006/relationships/font" Target="fonts/font6.fntdata"/><Relationship Id="rId68" Type="http://schemas.openxmlformats.org/officeDocument/2006/relationships/font" Target="fonts/font11.fntdata"/><Relationship Id="rId84" Type="http://schemas.openxmlformats.org/officeDocument/2006/relationships/font" Target="fonts/font27.fntdata"/><Relationship Id="rId16" Type="http://schemas.openxmlformats.org/officeDocument/2006/relationships/slide" Target="slides/slide5.xml"/><Relationship Id="rId107" Type="http://schemas.openxmlformats.org/officeDocument/2006/relationships/viewProps" Target="viewProps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53" Type="http://schemas.openxmlformats.org/officeDocument/2006/relationships/slide" Target="slides/slide42.xml"/><Relationship Id="rId58" Type="http://schemas.openxmlformats.org/officeDocument/2006/relationships/font" Target="fonts/font1.fntdata"/><Relationship Id="rId74" Type="http://schemas.openxmlformats.org/officeDocument/2006/relationships/font" Target="fonts/font17.fntdata"/><Relationship Id="rId79" Type="http://schemas.openxmlformats.org/officeDocument/2006/relationships/font" Target="fonts/font22.fntdata"/><Relationship Id="rId5" Type="http://schemas.openxmlformats.org/officeDocument/2006/relationships/slideMaster" Target="slideMasters/slideMaster5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font" Target="fonts/font7.fntdata"/><Relationship Id="rId69" Type="http://schemas.openxmlformats.org/officeDocument/2006/relationships/font" Target="fonts/font12.fntdata"/><Relationship Id="rId77" Type="http://schemas.openxmlformats.org/officeDocument/2006/relationships/font" Target="fonts/font20.fntdata"/><Relationship Id="rId105" Type="http://customschemas.google.com/relationships/presentationmetadata" Target="metadata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0.xml"/><Relationship Id="rId72" Type="http://schemas.openxmlformats.org/officeDocument/2006/relationships/font" Target="fonts/font15.fntdata"/><Relationship Id="rId80" Type="http://schemas.openxmlformats.org/officeDocument/2006/relationships/font" Target="fonts/font23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font" Target="fonts/font2.fntdata"/><Relationship Id="rId67" Type="http://schemas.openxmlformats.org/officeDocument/2006/relationships/font" Target="fonts/font10.fntdata"/><Relationship Id="rId108" Type="http://schemas.openxmlformats.org/officeDocument/2006/relationships/theme" Target="theme/theme1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font" Target="fonts/font5.fntdata"/><Relationship Id="rId70" Type="http://schemas.openxmlformats.org/officeDocument/2006/relationships/font" Target="fonts/font13.fntdata"/><Relationship Id="rId75" Type="http://schemas.openxmlformats.org/officeDocument/2006/relationships/font" Target="fonts/font18.fntdata"/><Relationship Id="rId83" Type="http://schemas.openxmlformats.org/officeDocument/2006/relationships/font" Target="fonts/font26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notesMaster" Target="notesMasters/notesMaster1.xml"/><Relationship Id="rId106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font" Target="fonts/font3.fntdata"/><Relationship Id="rId65" Type="http://schemas.openxmlformats.org/officeDocument/2006/relationships/font" Target="fonts/font8.fntdata"/><Relationship Id="rId73" Type="http://schemas.openxmlformats.org/officeDocument/2006/relationships/font" Target="fonts/font16.fntdata"/><Relationship Id="rId78" Type="http://schemas.openxmlformats.org/officeDocument/2006/relationships/font" Target="fonts/font21.fntdata"/><Relationship Id="rId81" Type="http://schemas.openxmlformats.org/officeDocument/2006/relationships/font" Target="fonts/font24.fntdata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9" Type="http://schemas.openxmlformats.org/officeDocument/2006/relationships/slide" Target="slides/slide28.xml"/><Relationship Id="rId109" Type="http://schemas.openxmlformats.org/officeDocument/2006/relationships/tableStyles" Target="tableStyles.xml"/><Relationship Id="rId34" Type="http://schemas.openxmlformats.org/officeDocument/2006/relationships/slide" Target="slides/slide23.xml"/><Relationship Id="rId50" Type="http://schemas.openxmlformats.org/officeDocument/2006/relationships/slide" Target="slides/slide39.xml"/><Relationship Id="rId55" Type="http://schemas.openxmlformats.org/officeDocument/2006/relationships/slide" Target="slides/slide44.xml"/><Relationship Id="rId76" Type="http://schemas.openxmlformats.org/officeDocument/2006/relationships/font" Target="fonts/font19.fntdata"/><Relationship Id="rId7" Type="http://schemas.openxmlformats.org/officeDocument/2006/relationships/slideMaster" Target="slideMasters/slideMaster7.xml"/><Relationship Id="rId71" Type="http://schemas.openxmlformats.org/officeDocument/2006/relationships/font" Target="fonts/font14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8.xml"/><Relationship Id="rId24" Type="http://schemas.openxmlformats.org/officeDocument/2006/relationships/slide" Target="slides/slide13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66" Type="http://schemas.openxmlformats.org/officeDocument/2006/relationships/font" Target="fonts/font9.fntdata"/><Relationship Id="rId110" Type="http://schemas.microsoft.com/office/2015/10/relationships/revisionInfo" Target="revisionInfo.xml"/><Relationship Id="rId61" Type="http://schemas.openxmlformats.org/officeDocument/2006/relationships/font" Target="fonts/font4.fntdata"/><Relationship Id="rId82" Type="http://schemas.openxmlformats.org/officeDocument/2006/relationships/font" Target="fonts/font25.fntdata"/><Relationship Id="rId1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4760031425768911E-2"/>
          <c:y val="7.4187446022584591E-2"/>
          <c:w val="0.92537530119874578"/>
          <c:h val="0.8465947386347698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1:$A$6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Sheet1!$B$1:$B$6</c:f>
              <c:numCache>
                <c:formatCode>General</c:formatCode>
                <c:ptCount val="6"/>
                <c:pt idx="0">
                  <c:v>22</c:v>
                </c:pt>
                <c:pt idx="1">
                  <c:v>30</c:v>
                </c:pt>
                <c:pt idx="2">
                  <c:v>32</c:v>
                </c:pt>
                <c:pt idx="3">
                  <c:v>29</c:v>
                </c:pt>
                <c:pt idx="4">
                  <c:v>50</c:v>
                </c:pt>
                <c:pt idx="5">
                  <c:v>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1B-4A89-9BED-66B1D27C98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"/>
        <c:axId val="663437968"/>
        <c:axId val="663439408"/>
      </c:barChart>
      <c:catAx>
        <c:axId val="663437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63439408"/>
        <c:crosses val="autoZero"/>
        <c:auto val="1"/>
        <c:lblAlgn val="ctr"/>
        <c:lblOffset val="100"/>
        <c:noMultiLvlLbl val="0"/>
      </c:catAx>
      <c:valAx>
        <c:axId val="663439408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634379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image" Target="../media/image108.png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image" Target="../media/image108.png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BA85AD2-5052-45D5-BFD5-C6143513CD62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9F50EA3-B768-423C-9EDA-844D80EA40E9}">
      <dgm:prSet phldr="0"/>
      <dgm:spPr/>
      <dgm:t>
        <a:bodyPr/>
        <a:lstStyle/>
        <a:p>
          <a:pPr algn="l" rtl="0"/>
          <a:r>
            <a:rPr lang="en-US" dirty="0">
              <a:solidFill>
                <a:schemeClr val="bg1"/>
              </a:solidFill>
              <a:latin typeface="Calibri"/>
              <a:cs typeface="Calibri"/>
            </a:rPr>
            <a:t>Goal for each Birth Equity team to identify and engage a patient partner before Face-to-Face conference in May 2024</a:t>
          </a:r>
        </a:p>
      </dgm:t>
    </dgm:pt>
    <dgm:pt modelId="{02595B5A-1EBD-4963-A62C-1F60FC6F4249}" type="parTrans" cxnId="{DC8026A9-6DC9-4BA4-8002-0066C7FDBBDC}">
      <dgm:prSet/>
      <dgm:spPr/>
      <dgm:t>
        <a:bodyPr/>
        <a:lstStyle/>
        <a:p>
          <a:endParaRPr lang="en-US"/>
        </a:p>
      </dgm:t>
    </dgm:pt>
    <dgm:pt modelId="{83741C1F-4374-4DA4-883D-1EF91EBC8BB2}" type="sibTrans" cxnId="{DC8026A9-6DC9-4BA4-8002-0066C7FDBBDC}">
      <dgm:prSet/>
      <dgm:spPr/>
      <dgm:t>
        <a:bodyPr/>
        <a:lstStyle/>
        <a:p>
          <a:endParaRPr lang="en-US"/>
        </a:p>
      </dgm:t>
    </dgm:pt>
    <dgm:pt modelId="{82C89D97-4AEB-4298-927F-D75D5773ED8E}">
      <dgm:prSet phldr="0"/>
      <dgm:spPr/>
      <dgm:t>
        <a:bodyPr/>
        <a:lstStyle/>
        <a:p>
          <a:pPr algn="l" rtl="0"/>
          <a:r>
            <a:rPr lang="en-US" dirty="0">
              <a:solidFill>
                <a:schemeClr val="bg1"/>
              </a:solidFill>
              <a:latin typeface="Calibri"/>
              <a:cs typeface="Calibri"/>
            </a:rPr>
            <a:t>All hospitals hold a Respectful Care Breakfast invite patients delivered at your hospital and clinical team members before Face-to-Face and plan quarterly or biannual </a:t>
          </a:r>
        </a:p>
      </dgm:t>
    </dgm:pt>
    <dgm:pt modelId="{73359EC5-8379-4CB1-8060-F9684305F107}" type="parTrans" cxnId="{0CAF40CC-9D1A-4EC5-A76C-FD6EF1412796}">
      <dgm:prSet/>
      <dgm:spPr/>
      <dgm:t>
        <a:bodyPr/>
        <a:lstStyle/>
        <a:p>
          <a:endParaRPr lang="en-US"/>
        </a:p>
      </dgm:t>
    </dgm:pt>
    <dgm:pt modelId="{CC71B899-96FA-4B31-8413-63894D2F2E76}" type="sibTrans" cxnId="{0CAF40CC-9D1A-4EC5-A76C-FD6EF1412796}">
      <dgm:prSet/>
      <dgm:spPr/>
      <dgm:t>
        <a:bodyPr/>
        <a:lstStyle/>
        <a:p>
          <a:endParaRPr lang="en-US"/>
        </a:p>
      </dgm:t>
    </dgm:pt>
    <dgm:pt modelId="{B13823EE-15F7-43F9-A491-B66C7CA82672}" type="pres">
      <dgm:prSet presAssocID="{7BA85AD2-5052-45D5-BFD5-C6143513CD62}" presName="diagram" presStyleCnt="0">
        <dgm:presLayoutVars>
          <dgm:dir/>
          <dgm:resizeHandles val="exact"/>
        </dgm:presLayoutVars>
      </dgm:prSet>
      <dgm:spPr/>
    </dgm:pt>
    <dgm:pt modelId="{7E14F6E9-A33C-4A5E-9353-A4D1EF765898}" type="pres">
      <dgm:prSet presAssocID="{D9F50EA3-B768-423C-9EDA-844D80EA40E9}" presName="node" presStyleLbl="node1" presStyleIdx="0" presStyleCnt="2">
        <dgm:presLayoutVars>
          <dgm:bulletEnabled val="1"/>
        </dgm:presLayoutVars>
      </dgm:prSet>
      <dgm:spPr/>
    </dgm:pt>
    <dgm:pt modelId="{8A3F39D6-FEF2-42F3-BE74-E27D6490EA7A}" type="pres">
      <dgm:prSet presAssocID="{83741C1F-4374-4DA4-883D-1EF91EBC8BB2}" presName="sibTrans" presStyleCnt="0"/>
      <dgm:spPr/>
    </dgm:pt>
    <dgm:pt modelId="{C2FCD772-AB90-4181-AAFA-507DF54BAF27}" type="pres">
      <dgm:prSet presAssocID="{82C89D97-4AEB-4298-927F-D75D5773ED8E}" presName="node" presStyleLbl="node1" presStyleIdx="1" presStyleCnt="2">
        <dgm:presLayoutVars>
          <dgm:bulletEnabled val="1"/>
        </dgm:presLayoutVars>
      </dgm:prSet>
      <dgm:spPr/>
    </dgm:pt>
  </dgm:ptLst>
  <dgm:cxnLst>
    <dgm:cxn modelId="{E9DCFF07-81A4-45C9-8FBC-CA49A1A33968}" type="presOf" srcId="{D9F50EA3-B768-423C-9EDA-844D80EA40E9}" destId="{7E14F6E9-A33C-4A5E-9353-A4D1EF765898}" srcOrd="0" destOrd="0" presId="urn:microsoft.com/office/officeart/2005/8/layout/default"/>
    <dgm:cxn modelId="{6676CD57-F3B0-4330-AB0C-28B4BF813124}" type="presOf" srcId="{82C89D97-4AEB-4298-927F-D75D5773ED8E}" destId="{C2FCD772-AB90-4181-AAFA-507DF54BAF27}" srcOrd="0" destOrd="0" presId="urn:microsoft.com/office/officeart/2005/8/layout/default"/>
    <dgm:cxn modelId="{DC8026A9-6DC9-4BA4-8002-0066C7FDBBDC}" srcId="{7BA85AD2-5052-45D5-BFD5-C6143513CD62}" destId="{D9F50EA3-B768-423C-9EDA-844D80EA40E9}" srcOrd="0" destOrd="0" parTransId="{02595B5A-1EBD-4963-A62C-1F60FC6F4249}" sibTransId="{83741C1F-4374-4DA4-883D-1EF91EBC8BB2}"/>
    <dgm:cxn modelId="{34C44EBE-C1AB-413A-B121-FA62B8ED0143}" type="presOf" srcId="{7BA85AD2-5052-45D5-BFD5-C6143513CD62}" destId="{B13823EE-15F7-43F9-A491-B66C7CA82672}" srcOrd="0" destOrd="0" presId="urn:microsoft.com/office/officeart/2005/8/layout/default"/>
    <dgm:cxn modelId="{0CAF40CC-9D1A-4EC5-A76C-FD6EF1412796}" srcId="{7BA85AD2-5052-45D5-BFD5-C6143513CD62}" destId="{82C89D97-4AEB-4298-927F-D75D5773ED8E}" srcOrd="1" destOrd="0" parTransId="{73359EC5-8379-4CB1-8060-F9684305F107}" sibTransId="{CC71B899-96FA-4B31-8413-63894D2F2E76}"/>
    <dgm:cxn modelId="{741C8D14-07C8-4CD6-8CA8-C5E88A0DF4F6}" type="presParOf" srcId="{B13823EE-15F7-43F9-A491-B66C7CA82672}" destId="{7E14F6E9-A33C-4A5E-9353-A4D1EF765898}" srcOrd="0" destOrd="0" presId="urn:microsoft.com/office/officeart/2005/8/layout/default"/>
    <dgm:cxn modelId="{FB67DFB8-8260-498B-A516-5B890018551C}" type="presParOf" srcId="{B13823EE-15F7-43F9-A491-B66C7CA82672}" destId="{8A3F39D6-FEF2-42F3-BE74-E27D6490EA7A}" srcOrd="1" destOrd="0" presId="urn:microsoft.com/office/officeart/2005/8/layout/default"/>
    <dgm:cxn modelId="{2DCFE84A-B14A-42BF-9A8A-21DEBC3DC261}" type="presParOf" srcId="{B13823EE-15F7-43F9-A491-B66C7CA82672}" destId="{C2FCD772-AB90-4181-AAFA-507DF54BAF27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24A868A-664D-42B6-A599-58F4180D9CD5}" type="doc">
      <dgm:prSet loTypeId="urn:microsoft.com/office/officeart/2008/layout/PictureStrips" loCatId="list" qsTypeId="urn:microsoft.com/office/officeart/2005/8/quickstyle/simple3" qsCatId="simple" csTypeId="urn:microsoft.com/office/officeart/2005/8/colors/accent3_5" csCatId="accent3" phldr="1"/>
      <dgm:spPr/>
      <dgm:t>
        <a:bodyPr/>
        <a:lstStyle/>
        <a:p>
          <a:endParaRPr lang="en-US"/>
        </a:p>
      </dgm:t>
    </dgm:pt>
    <dgm:pt modelId="{7806FEDF-A619-4F80-A944-A6AFB900500D}">
      <dgm:prSet phldrT="[Text]" custT="1"/>
      <dgm:spPr>
        <a:ln w="38100">
          <a:solidFill>
            <a:schemeClr val="accent2"/>
          </a:solidFill>
        </a:ln>
      </dgm:spPr>
      <dgm:t>
        <a:bodyPr/>
        <a:lstStyle/>
        <a:p>
          <a:r>
            <a:rPr lang="en-US" sz="2000" b="1" dirty="0">
              <a:ln>
                <a:noFill/>
              </a:ln>
              <a:solidFill>
                <a:schemeClr val="tx1">
                  <a:lumMod val="50000"/>
                </a:schemeClr>
              </a:solidFill>
            </a:rPr>
            <a:t>Optimize race/ethnicity data</a:t>
          </a:r>
          <a:r>
            <a:rPr lang="en-US" sz="2000" dirty="0">
              <a:ln>
                <a:noFill/>
              </a:ln>
              <a:solidFill>
                <a:schemeClr val="tx1">
                  <a:lumMod val="50000"/>
                </a:schemeClr>
              </a:solidFill>
            </a:rPr>
            <a:t> collection &amp; review key maternal quality data by race, ethnicity &amp; Medicaid status</a:t>
          </a:r>
        </a:p>
      </dgm:t>
    </dgm:pt>
    <dgm:pt modelId="{86F72BA6-7DE5-43E1-BC7F-A064EE63861B}" type="parTrans" cxnId="{A7D9D694-C8B8-437A-8E2A-E8125F469397}">
      <dgm:prSet/>
      <dgm:spPr/>
      <dgm:t>
        <a:bodyPr/>
        <a:lstStyle/>
        <a:p>
          <a:endParaRPr lang="en-US"/>
        </a:p>
      </dgm:t>
    </dgm:pt>
    <dgm:pt modelId="{7C7F3E4F-3F1C-45D6-B50F-B53180E08D01}" type="sibTrans" cxnId="{A7D9D694-C8B8-437A-8E2A-E8125F469397}">
      <dgm:prSet/>
      <dgm:spPr/>
      <dgm:t>
        <a:bodyPr/>
        <a:lstStyle/>
        <a:p>
          <a:endParaRPr lang="en-US"/>
        </a:p>
      </dgm:t>
    </dgm:pt>
    <dgm:pt modelId="{8BADECEC-2FF8-40F9-8CEC-87662EC9ACD4}">
      <dgm:prSet phldrT="[Text]" custT="1"/>
      <dgm:spPr>
        <a:ln w="38100">
          <a:solidFill>
            <a:schemeClr val="accent2"/>
          </a:solidFill>
        </a:ln>
      </dgm:spPr>
      <dgm:t>
        <a:bodyPr/>
        <a:lstStyle/>
        <a:p>
          <a:r>
            <a:rPr lang="en-US" sz="2000" b="1" dirty="0">
              <a:solidFill>
                <a:schemeClr val="tx1">
                  <a:lumMod val="50000"/>
                </a:schemeClr>
              </a:solidFill>
            </a:rPr>
            <a:t>Engage patients and community members </a:t>
          </a:r>
          <a:r>
            <a:rPr lang="en-US" sz="2000" dirty="0">
              <a:solidFill>
                <a:schemeClr val="tx1">
                  <a:lumMod val="50000"/>
                </a:schemeClr>
              </a:solidFill>
            </a:rPr>
            <a:t>for input on quality improvement efforts</a:t>
          </a:r>
        </a:p>
      </dgm:t>
    </dgm:pt>
    <dgm:pt modelId="{4D804546-C693-45EC-852E-E9164F816126}" type="parTrans" cxnId="{F0C010E1-0925-47C2-BC60-F5D7ACA41474}">
      <dgm:prSet/>
      <dgm:spPr/>
      <dgm:t>
        <a:bodyPr/>
        <a:lstStyle/>
        <a:p>
          <a:endParaRPr lang="en-US"/>
        </a:p>
      </dgm:t>
    </dgm:pt>
    <dgm:pt modelId="{30734B9A-4BBF-4E31-AA4B-6CF614EECEFD}" type="sibTrans" cxnId="{F0C010E1-0925-47C2-BC60-F5D7ACA41474}">
      <dgm:prSet/>
      <dgm:spPr/>
      <dgm:t>
        <a:bodyPr/>
        <a:lstStyle/>
        <a:p>
          <a:endParaRPr lang="en-US"/>
        </a:p>
      </dgm:t>
    </dgm:pt>
    <dgm:pt modelId="{06AE8033-DDA0-4D78-B03F-3AD1CD6C2EF0}">
      <dgm:prSet custT="1"/>
      <dgm:spPr>
        <a:solidFill>
          <a:schemeClr val="accent6">
            <a:lumMod val="40000"/>
            <a:lumOff val="60000"/>
            <a:alpha val="40000"/>
          </a:schemeClr>
        </a:solidFill>
        <a:ln w="38100">
          <a:solidFill>
            <a:schemeClr val="accent3"/>
          </a:solidFill>
        </a:ln>
      </dgm:spPr>
      <dgm:t>
        <a:bodyPr/>
        <a:lstStyle/>
        <a:p>
          <a:r>
            <a:rPr lang="en-US" sz="1900" dirty="0">
              <a:solidFill>
                <a:schemeClr val="tx1">
                  <a:lumMod val="50000"/>
                </a:schemeClr>
              </a:solidFill>
            </a:rPr>
            <a:t>Universal </a:t>
          </a:r>
          <a:r>
            <a:rPr lang="en-US" sz="1900" b="1" dirty="0">
              <a:solidFill>
                <a:schemeClr val="tx1">
                  <a:lumMod val="50000"/>
                </a:schemeClr>
              </a:solidFill>
            </a:rPr>
            <a:t>social determinants of health screening</a:t>
          </a:r>
          <a:r>
            <a:rPr lang="en-US" sz="1900" dirty="0">
              <a:solidFill>
                <a:schemeClr val="tx1">
                  <a:lumMod val="50000"/>
                </a:schemeClr>
              </a:solidFill>
            </a:rPr>
            <a:t> tool (prenatal/L&amp;D) with system for linkage to appropriate resources </a:t>
          </a:r>
        </a:p>
      </dgm:t>
    </dgm:pt>
    <dgm:pt modelId="{BCE9A4C6-9B46-40D2-B462-0E76716A75A4}" type="parTrans" cxnId="{5F659E21-5166-47C8-BB35-5AEA57E9EEFB}">
      <dgm:prSet/>
      <dgm:spPr/>
      <dgm:t>
        <a:bodyPr/>
        <a:lstStyle/>
        <a:p>
          <a:endParaRPr lang="en-US"/>
        </a:p>
      </dgm:t>
    </dgm:pt>
    <dgm:pt modelId="{16B03BED-9A88-4CE8-B370-11485C78BCB9}" type="sibTrans" cxnId="{5F659E21-5166-47C8-BB35-5AEA57E9EEFB}">
      <dgm:prSet/>
      <dgm:spPr/>
      <dgm:t>
        <a:bodyPr/>
        <a:lstStyle/>
        <a:p>
          <a:endParaRPr lang="en-US"/>
        </a:p>
      </dgm:t>
    </dgm:pt>
    <dgm:pt modelId="{B6B72146-484E-4F79-BA49-1B269067A153}">
      <dgm:prSet custT="1"/>
      <dgm:spPr>
        <a:solidFill>
          <a:schemeClr val="accent6">
            <a:lumMod val="40000"/>
            <a:lumOff val="60000"/>
            <a:alpha val="40000"/>
          </a:schemeClr>
        </a:solidFill>
        <a:ln w="38100">
          <a:solidFill>
            <a:schemeClr val="accent3"/>
          </a:solidFill>
        </a:ln>
      </dgm:spPr>
      <dgm:t>
        <a:bodyPr/>
        <a:lstStyle/>
        <a:p>
          <a:r>
            <a:rPr lang="en-US" sz="1900" dirty="0">
              <a:solidFill>
                <a:schemeClr val="tx1">
                  <a:lumMod val="50000"/>
                </a:schemeClr>
              </a:solidFill>
            </a:rPr>
            <a:t>Share </a:t>
          </a:r>
          <a:r>
            <a:rPr lang="en-US" sz="1900" b="1" dirty="0">
              <a:solidFill>
                <a:schemeClr val="tx1">
                  <a:lumMod val="50000"/>
                </a:schemeClr>
              </a:solidFill>
            </a:rPr>
            <a:t>respectful care practices </a:t>
          </a:r>
          <a:r>
            <a:rPr lang="en-US" sz="1900" dirty="0">
              <a:solidFill>
                <a:schemeClr val="tx1">
                  <a:lumMod val="50000"/>
                </a:schemeClr>
              </a:solidFill>
            </a:rPr>
            <a:t>on L&amp;D and survey patients before discharge on their care experience (using the PREM) for feedback</a:t>
          </a:r>
        </a:p>
      </dgm:t>
    </dgm:pt>
    <dgm:pt modelId="{ADD461F2-10FF-45CB-AE84-C92D8465A518}" type="parTrans" cxnId="{1DD56503-1C2E-4DBB-98F7-5E85C651D8A1}">
      <dgm:prSet/>
      <dgm:spPr/>
      <dgm:t>
        <a:bodyPr/>
        <a:lstStyle/>
        <a:p>
          <a:endParaRPr lang="en-US"/>
        </a:p>
      </dgm:t>
    </dgm:pt>
    <dgm:pt modelId="{5BBC6221-5249-441E-83CF-AEDA9AE70078}" type="sibTrans" cxnId="{1DD56503-1C2E-4DBB-98F7-5E85C651D8A1}">
      <dgm:prSet/>
      <dgm:spPr/>
      <dgm:t>
        <a:bodyPr/>
        <a:lstStyle/>
        <a:p>
          <a:endParaRPr lang="en-US"/>
        </a:p>
      </dgm:t>
    </dgm:pt>
    <dgm:pt modelId="{145678A4-C9B1-46A8-AB0F-333660A44930}">
      <dgm:prSet custT="1"/>
      <dgm:spPr>
        <a:ln w="38100">
          <a:solidFill>
            <a:schemeClr val="accent2"/>
          </a:solidFill>
        </a:ln>
      </dgm:spPr>
      <dgm:t>
        <a:bodyPr/>
        <a:lstStyle/>
        <a:p>
          <a:r>
            <a:rPr lang="en-US" sz="1900" b="1" dirty="0">
              <a:solidFill>
                <a:schemeClr val="tx1">
                  <a:lumMod val="50000"/>
                </a:schemeClr>
              </a:solidFill>
            </a:rPr>
            <a:t>Standardize postpartum safety </a:t>
          </a:r>
          <a:r>
            <a:rPr lang="en-US" sz="1900" dirty="0">
              <a:solidFill>
                <a:schemeClr val="tx1">
                  <a:lumMod val="50000"/>
                </a:schemeClr>
              </a:solidFill>
            </a:rPr>
            <a:t>education and schedule early postpartum follow up prior to hospital discharge</a:t>
          </a:r>
        </a:p>
      </dgm:t>
    </dgm:pt>
    <dgm:pt modelId="{0BE838AE-950D-41CB-915F-94F09230C8BA}" type="parTrans" cxnId="{FDCCCA09-1174-46B4-B74B-BA16C49073DF}">
      <dgm:prSet/>
      <dgm:spPr/>
      <dgm:t>
        <a:bodyPr/>
        <a:lstStyle/>
        <a:p>
          <a:endParaRPr lang="en-US"/>
        </a:p>
      </dgm:t>
    </dgm:pt>
    <dgm:pt modelId="{6F49F7C4-2516-4E5A-874B-96D7AB23C2BB}" type="sibTrans" cxnId="{FDCCCA09-1174-46B4-B74B-BA16C49073DF}">
      <dgm:prSet/>
      <dgm:spPr/>
      <dgm:t>
        <a:bodyPr/>
        <a:lstStyle/>
        <a:p>
          <a:endParaRPr lang="en-US"/>
        </a:p>
      </dgm:t>
    </dgm:pt>
    <dgm:pt modelId="{0AA1816D-CC2F-4D69-B6DA-C364AB0244B0}">
      <dgm:prSet custT="1"/>
      <dgm:spPr>
        <a:ln w="38100">
          <a:solidFill>
            <a:schemeClr val="accent3"/>
          </a:solidFill>
        </a:ln>
      </dgm:spPr>
      <dgm:t>
        <a:bodyPr/>
        <a:lstStyle/>
        <a:p>
          <a:r>
            <a:rPr lang="en-US" sz="2000" b="1" dirty="0">
              <a:solidFill>
                <a:schemeClr val="tx1">
                  <a:lumMod val="50000"/>
                </a:schemeClr>
              </a:solidFill>
            </a:rPr>
            <a:t>Implicit Bias / Respectful Care training </a:t>
          </a:r>
          <a:r>
            <a:rPr lang="en-US" sz="2000" dirty="0">
              <a:solidFill>
                <a:schemeClr val="tx1">
                  <a:lumMod val="50000"/>
                </a:schemeClr>
              </a:solidFill>
            </a:rPr>
            <a:t>for providers, nurses and other staff</a:t>
          </a:r>
        </a:p>
      </dgm:t>
    </dgm:pt>
    <dgm:pt modelId="{988E88B7-D8BF-47C6-8CF7-14EB94081D4C}" type="parTrans" cxnId="{1A1B0F33-FC23-40B2-BC2A-AF7EE23A173D}">
      <dgm:prSet/>
      <dgm:spPr/>
      <dgm:t>
        <a:bodyPr/>
        <a:lstStyle/>
        <a:p>
          <a:endParaRPr lang="en-US"/>
        </a:p>
      </dgm:t>
    </dgm:pt>
    <dgm:pt modelId="{06A61F8F-57F0-4D32-8C10-319FBF89C4F0}" type="sibTrans" cxnId="{1A1B0F33-FC23-40B2-BC2A-AF7EE23A173D}">
      <dgm:prSet/>
      <dgm:spPr/>
      <dgm:t>
        <a:bodyPr/>
        <a:lstStyle/>
        <a:p>
          <a:endParaRPr lang="en-US"/>
        </a:p>
      </dgm:t>
    </dgm:pt>
    <dgm:pt modelId="{5D833600-D27C-4A11-8523-D11586168895}" type="pres">
      <dgm:prSet presAssocID="{F24A868A-664D-42B6-A599-58F4180D9CD5}" presName="Name0" presStyleCnt="0">
        <dgm:presLayoutVars>
          <dgm:dir/>
          <dgm:resizeHandles val="exact"/>
        </dgm:presLayoutVars>
      </dgm:prSet>
      <dgm:spPr/>
    </dgm:pt>
    <dgm:pt modelId="{D886DD18-ECCC-4014-9E1E-0B83A32A804E}" type="pres">
      <dgm:prSet presAssocID="{7806FEDF-A619-4F80-A944-A6AFB900500D}" presName="composite" presStyleCnt="0"/>
      <dgm:spPr/>
    </dgm:pt>
    <dgm:pt modelId="{59934895-D150-4E33-9DF9-05F4FF77A7AF}" type="pres">
      <dgm:prSet presAssocID="{7806FEDF-A619-4F80-A944-A6AFB900500D}" presName="rect1" presStyleLbl="trAlignAcc1" presStyleIdx="0" presStyleCnt="6">
        <dgm:presLayoutVars>
          <dgm:bulletEnabled val="1"/>
        </dgm:presLayoutVars>
      </dgm:prSet>
      <dgm:spPr/>
    </dgm:pt>
    <dgm:pt modelId="{CC54DB42-0225-4905-A8D7-EBF99D64265A}" type="pres">
      <dgm:prSet presAssocID="{7806FEDF-A619-4F80-A944-A6AFB900500D}" presName="rect2" presStyleLbl="fgImgPlace1" presStyleIdx="0" presStyleCnt="6" custLinFactNeighborX="1206" custLinFactNeighborY="5625"/>
      <dgm:spPr>
        <a:blipFill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672B8F3D-6A6F-4CB0-A1AE-FC52093F19D3}" type="pres">
      <dgm:prSet presAssocID="{7C7F3E4F-3F1C-45D6-B50F-B53180E08D01}" presName="sibTrans" presStyleCnt="0"/>
      <dgm:spPr/>
    </dgm:pt>
    <dgm:pt modelId="{22907C8F-2179-483B-BF1D-117B0AC55DD2}" type="pres">
      <dgm:prSet presAssocID="{06AE8033-DDA0-4D78-B03F-3AD1CD6C2EF0}" presName="composite" presStyleCnt="0"/>
      <dgm:spPr/>
    </dgm:pt>
    <dgm:pt modelId="{49AFCCF3-3DDD-486F-B69F-0293F48BA1AE}" type="pres">
      <dgm:prSet presAssocID="{06AE8033-DDA0-4D78-B03F-3AD1CD6C2EF0}" presName="rect1" presStyleLbl="trAlignAcc1" presStyleIdx="1" presStyleCnt="6">
        <dgm:presLayoutVars>
          <dgm:bulletEnabled val="1"/>
        </dgm:presLayoutVars>
      </dgm:prSet>
      <dgm:spPr/>
    </dgm:pt>
    <dgm:pt modelId="{E836AFA5-6591-4E14-8210-FEC8BF8E79BF}" type="pres">
      <dgm:prSet presAssocID="{06AE8033-DDA0-4D78-B03F-3AD1CD6C2EF0}" presName="rect2" presStyleLbl="fgImgPlace1" presStyleIdx="1" presStyleCnt="6" custScaleX="121667"/>
      <dgm:spPr>
        <a:blipFill rotWithShape="1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B17C5BD2-7494-4B92-A7FF-B9EA39D820EC}" type="pres">
      <dgm:prSet presAssocID="{16B03BED-9A88-4CE8-B370-11485C78BCB9}" presName="sibTrans" presStyleCnt="0"/>
      <dgm:spPr/>
    </dgm:pt>
    <dgm:pt modelId="{FD4654B2-1BB2-4EF6-9802-69F8316533F1}" type="pres">
      <dgm:prSet presAssocID="{B6B72146-484E-4F79-BA49-1B269067A153}" presName="composite" presStyleCnt="0"/>
      <dgm:spPr/>
    </dgm:pt>
    <dgm:pt modelId="{E4F7C446-C5AF-419C-B1D8-F6A9C79DD675}" type="pres">
      <dgm:prSet presAssocID="{B6B72146-484E-4F79-BA49-1B269067A153}" presName="rect1" presStyleLbl="trAlignAcc1" presStyleIdx="2" presStyleCnt="6">
        <dgm:presLayoutVars>
          <dgm:bulletEnabled val="1"/>
        </dgm:presLayoutVars>
      </dgm:prSet>
      <dgm:spPr/>
    </dgm:pt>
    <dgm:pt modelId="{1AF332FF-D205-4E81-886F-B0DEEB2FEE24}" type="pres">
      <dgm:prSet presAssocID="{B6B72146-484E-4F79-BA49-1B269067A153}" presName="rect2" presStyleLbl="fgImgPlace1" presStyleIdx="2" presStyleCnt="6"/>
      <dgm:spPr>
        <a:blipFill rotWithShape="1"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F64733EB-32F4-4191-9701-005CA1845A25}" type="pres">
      <dgm:prSet presAssocID="{5BBC6221-5249-441E-83CF-AEDA9AE70078}" presName="sibTrans" presStyleCnt="0"/>
      <dgm:spPr/>
    </dgm:pt>
    <dgm:pt modelId="{13CAE0DD-4AEA-4BAA-BC34-C9F3E2199916}" type="pres">
      <dgm:prSet presAssocID="{8BADECEC-2FF8-40F9-8CEC-87662EC9ACD4}" presName="composite" presStyleCnt="0"/>
      <dgm:spPr/>
    </dgm:pt>
    <dgm:pt modelId="{5F77EB86-DC3A-4F49-9C1C-64F45674FB41}" type="pres">
      <dgm:prSet presAssocID="{8BADECEC-2FF8-40F9-8CEC-87662EC9ACD4}" presName="rect1" presStyleLbl="trAlignAcc1" presStyleIdx="3" presStyleCnt="6">
        <dgm:presLayoutVars>
          <dgm:bulletEnabled val="1"/>
        </dgm:presLayoutVars>
      </dgm:prSet>
      <dgm:spPr/>
    </dgm:pt>
    <dgm:pt modelId="{BC0ECF19-7FFA-4B14-87B4-72F35EE1B4A9}" type="pres">
      <dgm:prSet presAssocID="{8BADECEC-2FF8-40F9-8CEC-87662EC9ACD4}" presName="rect2" presStyleLbl="fgImgPlace1" presStyleIdx="3" presStyleCnt="6" custScaleX="132762"/>
      <dgm:spPr>
        <a:blipFill rotWithShape="1">
          <a:blip xmlns:r="http://schemas.openxmlformats.org/officeDocument/2006/relationships"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D7B6C416-0962-48BB-9B31-CE0C8770B0A1}" type="pres">
      <dgm:prSet presAssocID="{30734B9A-4BBF-4E31-AA4B-6CF614EECEFD}" presName="sibTrans" presStyleCnt="0"/>
      <dgm:spPr/>
    </dgm:pt>
    <dgm:pt modelId="{0BFC8CBB-0467-4932-96E0-8DBAC61DC7B7}" type="pres">
      <dgm:prSet presAssocID="{145678A4-C9B1-46A8-AB0F-333660A44930}" presName="composite" presStyleCnt="0"/>
      <dgm:spPr/>
    </dgm:pt>
    <dgm:pt modelId="{70187994-DBE7-4A6A-B505-7DE43D8B5E24}" type="pres">
      <dgm:prSet presAssocID="{145678A4-C9B1-46A8-AB0F-333660A44930}" presName="rect1" presStyleLbl="trAlignAcc1" presStyleIdx="4" presStyleCnt="6">
        <dgm:presLayoutVars>
          <dgm:bulletEnabled val="1"/>
        </dgm:presLayoutVars>
      </dgm:prSet>
      <dgm:spPr/>
    </dgm:pt>
    <dgm:pt modelId="{D00B39CB-6D1C-4FD9-83A3-2EDAA898AC44}" type="pres">
      <dgm:prSet presAssocID="{145678A4-C9B1-46A8-AB0F-333660A44930}" presName="rect2" presStyleLbl="fgImgPlace1" presStyleIdx="4" presStyleCnt="6" custLinFactNeighborX="-4821" custLinFactNeighborY="1607"/>
      <dgm:spPr>
        <a:blipFill rotWithShape="1"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A2C41B84-333C-48FA-A372-0205E14CC92A}" type="pres">
      <dgm:prSet presAssocID="{6F49F7C4-2516-4E5A-874B-96D7AB23C2BB}" presName="sibTrans" presStyleCnt="0"/>
      <dgm:spPr/>
    </dgm:pt>
    <dgm:pt modelId="{7F049475-9840-4F67-AB3A-F7C87BB07D12}" type="pres">
      <dgm:prSet presAssocID="{0AA1816D-CC2F-4D69-B6DA-C364AB0244B0}" presName="composite" presStyleCnt="0"/>
      <dgm:spPr/>
    </dgm:pt>
    <dgm:pt modelId="{197AA65D-CC75-4AFD-8AF6-BE49EB492D3A}" type="pres">
      <dgm:prSet presAssocID="{0AA1816D-CC2F-4D69-B6DA-C364AB0244B0}" presName="rect1" presStyleLbl="trAlignAcc1" presStyleIdx="5" presStyleCnt="6">
        <dgm:presLayoutVars>
          <dgm:bulletEnabled val="1"/>
        </dgm:presLayoutVars>
      </dgm:prSet>
      <dgm:spPr/>
    </dgm:pt>
    <dgm:pt modelId="{F76C5C29-CF17-47A8-9710-3F8111C8DB01}" type="pres">
      <dgm:prSet presAssocID="{0AA1816D-CC2F-4D69-B6DA-C364AB0244B0}" presName="rect2" presStyleLbl="fgImgPlace1" presStyleIdx="5" presStyleCnt="6" custLinFactNeighborX="10209" custLinFactNeighborY="2269"/>
      <dgm:spPr>
        <a:blipFill rotWithShape="1">
          <a:blip xmlns:r="http://schemas.openxmlformats.org/officeDocument/2006/relationships"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</dgm:ptLst>
  <dgm:cxnLst>
    <dgm:cxn modelId="{1DD56503-1C2E-4DBB-98F7-5E85C651D8A1}" srcId="{F24A868A-664D-42B6-A599-58F4180D9CD5}" destId="{B6B72146-484E-4F79-BA49-1B269067A153}" srcOrd="2" destOrd="0" parTransId="{ADD461F2-10FF-45CB-AE84-C92D8465A518}" sibTransId="{5BBC6221-5249-441E-83CF-AEDA9AE70078}"/>
    <dgm:cxn modelId="{FDCCCA09-1174-46B4-B74B-BA16C49073DF}" srcId="{F24A868A-664D-42B6-A599-58F4180D9CD5}" destId="{145678A4-C9B1-46A8-AB0F-333660A44930}" srcOrd="4" destOrd="0" parTransId="{0BE838AE-950D-41CB-915F-94F09230C8BA}" sibTransId="{6F49F7C4-2516-4E5A-874B-96D7AB23C2BB}"/>
    <dgm:cxn modelId="{5F659E21-5166-47C8-BB35-5AEA57E9EEFB}" srcId="{F24A868A-664D-42B6-A599-58F4180D9CD5}" destId="{06AE8033-DDA0-4D78-B03F-3AD1CD6C2EF0}" srcOrd="1" destOrd="0" parTransId="{BCE9A4C6-9B46-40D2-B462-0E76716A75A4}" sibTransId="{16B03BED-9A88-4CE8-B370-11485C78BCB9}"/>
    <dgm:cxn modelId="{1A1B0F33-FC23-40B2-BC2A-AF7EE23A173D}" srcId="{F24A868A-664D-42B6-A599-58F4180D9CD5}" destId="{0AA1816D-CC2F-4D69-B6DA-C364AB0244B0}" srcOrd="5" destOrd="0" parTransId="{988E88B7-D8BF-47C6-8CF7-14EB94081D4C}" sibTransId="{06A61F8F-57F0-4D32-8C10-319FBF89C4F0}"/>
    <dgm:cxn modelId="{5E7F807A-DAD6-410E-967E-373ADB304855}" type="presOf" srcId="{B6B72146-484E-4F79-BA49-1B269067A153}" destId="{E4F7C446-C5AF-419C-B1D8-F6A9C79DD675}" srcOrd="0" destOrd="0" presId="urn:microsoft.com/office/officeart/2008/layout/PictureStrips"/>
    <dgm:cxn modelId="{E5414B87-917E-477E-BF2C-9E01B8ADA961}" type="presOf" srcId="{8BADECEC-2FF8-40F9-8CEC-87662EC9ACD4}" destId="{5F77EB86-DC3A-4F49-9C1C-64F45674FB41}" srcOrd="0" destOrd="0" presId="urn:microsoft.com/office/officeart/2008/layout/PictureStrips"/>
    <dgm:cxn modelId="{A7D9D694-C8B8-437A-8E2A-E8125F469397}" srcId="{F24A868A-664D-42B6-A599-58F4180D9CD5}" destId="{7806FEDF-A619-4F80-A944-A6AFB900500D}" srcOrd="0" destOrd="0" parTransId="{86F72BA6-7DE5-43E1-BC7F-A064EE63861B}" sibTransId="{7C7F3E4F-3F1C-45D6-B50F-B53180E08D01}"/>
    <dgm:cxn modelId="{132D1BA2-776C-4BBE-A5EF-439F28F52864}" type="presOf" srcId="{7806FEDF-A619-4F80-A944-A6AFB900500D}" destId="{59934895-D150-4E33-9DF9-05F4FF77A7AF}" srcOrd="0" destOrd="0" presId="urn:microsoft.com/office/officeart/2008/layout/PictureStrips"/>
    <dgm:cxn modelId="{57F070A5-5C43-4AA5-8D1A-CFAE1DBF7145}" type="presOf" srcId="{145678A4-C9B1-46A8-AB0F-333660A44930}" destId="{70187994-DBE7-4A6A-B505-7DE43D8B5E24}" srcOrd="0" destOrd="0" presId="urn:microsoft.com/office/officeart/2008/layout/PictureStrips"/>
    <dgm:cxn modelId="{741ABDBB-7012-4181-AD12-927D8305C0DE}" type="presOf" srcId="{0AA1816D-CC2F-4D69-B6DA-C364AB0244B0}" destId="{197AA65D-CC75-4AFD-8AF6-BE49EB492D3A}" srcOrd="0" destOrd="0" presId="urn:microsoft.com/office/officeart/2008/layout/PictureStrips"/>
    <dgm:cxn modelId="{EA9DC5C9-CA4D-49C3-B4E1-1CB19D5960EF}" type="presOf" srcId="{06AE8033-DDA0-4D78-B03F-3AD1CD6C2EF0}" destId="{49AFCCF3-3DDD-486F-B69F-0293F48BA1AE}" srcOrd="0" destOrd="0" presId="urn:microsoft.com/office/officeart/2008/layout/PictureStrips"/>
    <dgm:cxn modelId="{C91B8FD6-F9AB-43C1-B548-11F813267C89}" type="presOf" srcId="{F24A868A-664D-42B6-A599-58F4180D9CD5}" destId="{5D833600-D27C-4A11-8523-D11586168895}" srcOrd="0" destOrd="0" presId="urn:microsoft.com/office/officeart/2008/layout/PictureStrips"/>
    <dgm:cxn modelId="{F0C010E1-0925-47C2-BC60-F5D7ACA41474}" srcId="{F24A868A-664D-42B6-A599-58F4180D9CD5}" destId="{8BADECEC-2FF8-40F9-8CEC-87662EC9ACD4}" srcOrd="3" destOrd="0" parTransId="{4D804546-C693-45EC-852E-E9164F816126}" sibTransId="{30734B9A-4BBF-4E31-AA4B-6CF614EECEFD}"/>
    <dgm:cxn modelId="{44B5909C-BC35-4644-B38B-D4538AE89129}" type="presParOf" srcId="{5D833600-D27C-4A11-8523-D11586168895}" destId="{D886DD18-ECCC-4014-9E1E-0B83A32A804E}" srcOrd="0" destOrd="0" presId="urn:microsoft.com/office/officeart/2008/layout/PictureStrips"/>
    <dgm:cxn modelId="{187DC000-AA63-457C-BDEF-0A810F9CED3C}" type="presParOf" srcId="{D886DD18-ECCC-4014-9E1E-0B83A32A804E}" destId="{59934895-D150-4E33-9DF9-05F4FF77A7AF}" srcOrd="0" destOrd="0" presId="urn:microsoft.com/office/officeart/2008/layout/PictureStrips"/>
    <dgm:cxn modelId="{0E29F3B7-273F-45A2-B44C-DBD4E1908882}" type="presParOf" srcId="{D886DD18-ECCC-4014-9E1E-0B83A32A804E}" destId="{CC54DB42-0225-4905-A8D7-EBF99D64265A}" srcOrd="1" destOrd="0" presId="urn:microsoft.com/office/officeart/2008/layout/PictureStrips"/>
    <dgm:cxn modelId="{BC25114B-30FE-4D06-8DAC-A97FB833FD89}" type="presParOf" srcId="{5D833600-D27C-4A11-8523-D11586168895}" destId="{672B8F3D-6A6F-4CB0-A1AE-FC52093F19D3}" srcOrd="1" destOrd="0" presId="urn:microsoft.com/office/officeart/2008/layout/PictureStrips"/>
    <dgm:cxn modelId="{DEA7C34E-31F3-40CF-B1B2-BC8606320899}" type="presParOf" srcId="{5D833600-D27C-4A11-8523-D11586168895}" destId="{22907C8F-2179-483B-BF1D-117B0AC55DD2}" srcOrd="2" destOrd="0" presId="urn:microsoft.com/office/officeart/2008/layout/PictureStrips"/>
    <dgm:cxn modelId="{055F78D7-A16A-40D3-BD62-5292BC0C121A}" type="presParOf" srcId="{22907C8F-2179-483B-BF1D-117B0AC55DD2}" destId="{49AFCCF3-3DDD-486F-B69F-0293F48BA1AE}" srcOrd="0" destOrd="0" presId="urn:microsoft.com/office/officeart/2008/layout/PictureStrips"/>
    <dgm:cxn modelId="{A8B70AF6-40A9-4E4B-8F41-789603EC5B2B}" type="presParOf" srcId="{22907C8F-2179-483B-BF1D-117B0AC55DD2}" destId="{E836AFA5-6591-4E14-8210-FEC8BF8E79BF}" srcOrd="1" destOrd="0" presId="urn:microsoft.com/office/officeart/2008/layout/PictureStrips"/>
    <dgm:cxn modelId="{2F54D05B-F4A8-4F45-8CE2-E73B89F1FBEA}" type="presParOf" srcId="{5D833600-D27C-4A11-8523-D11586168895}" destId="{B17C5BD2-7494-4B92-A7FF-B9EA39D820EC}" srcOrd="3" destOrd="0" presId="urn:microsoft.com/office/officeart/2008/layout/PictureStrips"/>
    <dgm:cxn modelId="{FB9F3956-B97A-48AE-8E7B-712EC9F66C18}" type="presParOf" srcId="{5D833600-D27C-4A11-8523-D11586168895}" destId="{FD4654B2-1BB2-4EF6-9802-69F8316533F1}" srcOrd="4" destOrd="0" presId="urn:microsoft.com/office/officeart/2008/layout/PictureStrips"/>
    <dgm:cxn modelId="{B254E6E1-9021-452A-BFE4-B1256208CECE}" type="presParOf" srcId="{FD4654B2-1BB2-4EF6-9802-69F8316533F1}" destId="{E4F7C446-C5AF-419C-B1D8-F6A9C79DD675}" srcOrd="0" destOrd="0" presId="urn:microsoft.com/office/officeart/2008/layout/PictureStrips"/>
    <dgm:cxn modelId="{85CC5FFC-E957-47B0-8DD3-84AD4F0975F5}" type="presParOf" srcId="{FD4654B2-1BB2-4EF6-9802-69F8316533F1}" destId="{1AF332FF-D205-4E81-886F-B0DEEB2FEE24}" srcOrd="1" destOrd="0" presId="urn:microsoft.com/office/officeart/2008/layout/PictureStrips"/>
    <dgm:cxn modelId="{ED3A76EE-F869-4197-8FBC-E7C6DC453A92}" type="presParOf" srcId="{5D833600-D27C-4A11-8523-D11586168895}" destId="{F64733EB-32F4-4191-9701-005CA1845A25}" srcOrd="5" destOrd="0" presId="urn:microsoft.com/office/officeart/2008/layout/PictureStrips"/>
    <dgm:cxn modelId="{FBDCDAD7-6B34-4E66-9DBA-D9294F960193}" type="presParOf" srcId="{5D833600-D27C-4A11-8523-D11586168895}" destId="{13CAE0DD-4AEA-4BAA-BC34-C9F3E2199916}" srcOrd="6" destOrd="0" presId="urn:microsoft.com/office/officeart/2008/layout/PictureStrips"/>
    <dgm:cxn modelId="{C9C80DE0-2D53-4A29-ABE6-050E1048DEEE}" type="presParOf" srcId="{13CAE0DD-4AEA-4BAA-BC34-C9F3E2199916}" destId="{5F77EB86-DC3A-4F49-9C1C-64F45674FB41}" srcOrd="0" destOrd="0" presId="urn:microsoft.com/office/officeart/2008/layout/PictureStrips"/>
    <dgm:cxn modelId="{29E6F23C-FB86-49AB-B93F-B3959EC0E093}" type="presParOf" srcId="{13CAE0DD-4AEA-4BAA-BC34-C9F3E2199916}" destId="{BC0ECF19-7FFA-4B14-87B4-72F35EE1B4A9}" srcOrd="1" destOrd="0" presId="urn:microsoft.com/office/officeart/2008/layout/PictureStrips"/>
    <dgm:cxn modelId="{8299EFBD-2B2C-4BA4-8F89-1F16635964F7}" type="presParOf" srcId="{5D833600-D27C-4A11-8523-D11586168895}" destId="{D7B6C416-0962-48BB-9B31-CE0C8770B0A1}" srcOrd="7" destOrd="0" presId="urn:microsoft.com/office/officeart/2008/layout/PictureStrips"/>
    <dgm:cxn modelId="{5FFB86C4-E56E-434D-80BC-3BDFCA9F097A}" type="presParOf" srcId="{5D833600-D27C-4A11-8523-D11586168895}" destId="{0BFC8CBB-0467-4932-96E0-8DBAC61DC7B7}" srcOrd="8" destOrd="0" presId="urn:microsoft.com/office/officeart/2008/layout/PictureStrips"/>
    <dgm:cxn modelId="{829012FA-6546-47BF-AEFB-A2906378BB1F}" type="presParOf" srcId="{0BFC8CBB-0467-4932-96E0-8DBAC61DC7B7}" destId="{70187994-DBE7-4A6A-B505-7DE43D8B5E24}" srcOrd="0" destOrd="0" presId="urn:microsoft.com/office/officeart/2008/layout/PictureStrips"/>
    <dgm:cxn modelId="{52FB8FAE-E74E-4E99-99D9-2EFFDD2CC098}" type="presParOf" srcId="{0BFC8CBB-0467-4932-96E0-8DBAC61DC7B7}" destId="{D00B39CB-6D1C-4FD9-83A3-2EDAA898AC44}" srcOrd="1" destOrd="0" presId="urn:microsoft.com/office/officeart/2008/layout/PictureStrips"/>
    <dgm:cxn modelId="{FDCD0F1E-CD77-4E3E-8FC1-52B073D36FE8}" type="presParOf" srcId="{5D833600-D27C-4A11-8523-D11586168895}" destId="{A2C41B84-333C-48FA-A372-0205E14CC92A}" srcOrd="9" destOrd="0" presId="urn:microsoft.com/office/officeart/2008/layout/PictureStrips"/>
    <dgm:cxn modelId="{491FC0F9-3D31-4A11-869F-37015C4430FA}" type="presParOf" srcId="{5D833600-D27C-4A11-8523-D11586168895}" destId="{7F049475-9840-4F67-AB3A-F7C87BB07D12}" srcOrd="10" destOrd="0" presId="urn:microsoft.com/office/officeart/2008/layout/PictureStrips"/>
    <dgm:cxn modelId="{3728E131-7839-4C4B-9E16-3833BDABA5F1}" type="presParOf" srcId="{7F049475-9840-4F67-AB3A-F7C87BB07D12}" destId="{197AA65D-CC75-4AFD-8AF6-BE49EB492D3A}" srcOrd="0" destOrd="0" presId="urn:microsoft.com/office/officeart/2008/layout/PictureStrips"/>
    <dgm:cxn modelId="{846CEB18-5B6E-4557-8DC4-F6015BB02239}" type="presParOf" srcId="{7F049475-9840-4F67-AB3A-F7C87BB07D12}" destId="{F76C5C29-CF17-47A8-9710-3F8111C8DB01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AA870F4-49AD-437A-8BDB-B899221F057C}" type="doc">
      <dgm:prSet loTypeId="urn:microsoft.com/office/officeart/2005/8/layout/venn3" loCatId="relationship" qsTypeId="urn:microsoft.com/office/officeart/2005/8/quickstyle/simple1" qsCatId="simple" csTypeId="urn:microsoft.com/office/officeart/2005/8/colors/colorful3" csCatId="colorful" phldr="1"/>
      <dgm:spPr/>
    </dgm:pt>
    <dgm:pt modelId="{CD97E338-E4D7-488B-87FE-AF6873D798F2}">
      <dgm:prSet phldrT="[Text]" phldr="0"/>
      <dgm:spPr/>
      <dgm:t>
        <a:bodyPr/>
        <a:lstStyle/>
        <a:p>
          <a:pPr rtl="0"/>
          <a:r>
            <a:rPr lang="en-US" b="1" u="sng" dirty="0">
              <a:latin typeface="Calibri" panose="020F0502020204030204"/>
            </a:rPr>
            <a:t> Gather your planning group</a:t>
          </a:r>
          <a:endParaRPr lang="en-US" b="1" u="sng" dirty="0"/>
        </a:p>
      </dgm:t>
    </dgm:pt>
    <dgm:pt modelId="{2339AB5C-1D10-4B14-B990-D75A55FB3B3E}" type="parTrans" cxnId="{FD359189-DFF6-4689-9BE3-577B568C7BEC}">
      <dgm:prSet/>
      <dgm:spPr/>
      <dgm:t>
        <a:bodyPr/>
        <a:lstStyle/>
        <a:p>
          <a:endParaRPr lang="en-US"/>
        </a:p>
      </dgm:t>
    </dgm:pt>
    <dgm:pt modelId="{86884BE3-8B9A-45B4-8F58-CA6AC32DA2EE}" type="sibTrans" cxnId="{FD359189-DFF6-4689-9BE3-577B568C7BEC}">
      <dgm:prSet/>
      <dgm:spPr/>
      <dgm:t>
        <a:bodyPr/>
        <a:lstStyle/>
        <a:p>
          <a:endParaRPr lang="en-US"/>
        </a:p>
      </dgm:t>
    </dgm:pt>
    <dgm:pt modelId="{8B188287-DA88-4A80-8A77-92204B2AE764}">
      <dgm:prSet phldrT="[Text]" phldr="0"/>
      <dgm:spPr/>
      <dgm:t>
        <a:bodyPr/>
        <a:lstStyle/>
        <a:p>
          <a:pPr rtl="0"/>
          <a:r>
            <a:rPr lang="en-US" b="1" u="sng" dirty="0">
              <a:latin typeface="Calibri" panose="020F0502020204030204"/>
            </a:rPr>
            <a:t> Connect/ Invite Patients </a:t>
          </a:r>
        </a:p>
      </dgm:t>
    </dgm:pt>
    <dgm:pt modelId="{5620FD8F-6E5F-43A2-A655-D245011858D3}" type="parTrans" cxnId="{CC49344A-ACA1-4F0C-A761-63B2448BCBD0}">
      <dgm:prSet/>
      <dgm:spPr/>
      <dgm:t>
        <a:bodyPr/>
        <a:lstStyle/>
        <a:p>
          <a:endParaRPr lang="en-US"/>
        </a:p>
      </dgm:t>
    </dgm:pt>
    <dgm:pt modelId="{8F918AF7-74F0-41F2-97AC-8F559365DC91}" type="sibTrans" cxnId="{CC49344A-ACA1-4F0C-A761-63B2448BCBD0}">
      <dgm:prSet/>
      <dgm:spPr/>
      <dgm:t>
        <a:bodyPr/>
        <a:lstStyle/>
        <a:p>
          <a:endParaRPr lang="en-US"/>
        </a:p>
      </dgm:t>
    </dgm:pt>
    <dgm:pt modelId="{15E6902D-5322-412B-955C-6D94CE6B4DAF}">
      <dgm:prSet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Ask OB offices / clinics / midwives/ doulas / lactation counselors / social workers: to each invite 2-3  postpartum pts, invite NICU moms.</a:t>
          </a:r>
        </a:p>
      </dgm:t>
    </dgm:pt>
    <dgm:pt modelId="{9F6EB303-ED57-4A56-BA7A-7F6CF8347D17}" type="parTrans" cxnId="{89D7613C-47CD-4532-8DBE-FEF808371C09}">
      <dgm:prSet/>
      <dgm:spPr/>
      <dgm:t>
        <a:bodyPr/>
        <a:lstStyle/>
        <a:p>
          <a:endParaRPr lang="en-US"/>
        </a:p>
      </dgm:t>
    </dgm:pt>
    <dgm:pt modelId="{F506786C-8AE8-441B-B23C-3F6F23D1CEC4}" type="sibTrans" cxnId="{89D7613C-47CD-4532-8DBE-FEF808371C09}">
      <dgm:prSet/>
      <dgm:spPr/>
      <dgm:t>
        <a:bodyPr/>
        <a:lstStyle/>
        <a:p>
          <a:endParaRPr lang="en-US"/>
        </a:p>
      </dgm:t>
    </dgm:pt>
    <dgm:pt modelId="{D4B431A8-AD1D-4424-8DA0-85434C524D46}">
      <dgm:prSet phldr="0"/>
      <dgm:spPr/>
      <dgm:t>
        <a:bodyPr/>
        <a:lstStyle/>
        <a:p>
          <a:pPr rtl="0"/>
          <a:r>
            <a:rPr lang="en-US" b="1" u="sng" dirty="0">
              <a:latin typeface="Calibri" panose="020F0502020204030204"/>
            </a:rPr>
            <a:t> Set</a:t>
          </a:r>
          <a:r>
            <a:rPr lang="en-US" b="1" u="sng" dirty="0">
              <a:solidFill>
                <a:schemeClr val="tx1"/>
              </a:solidFill>
              <a:latin typeface="Calibri" panose="020F0502020204030204"/>
            </a:rPr>
            <a:t> the Date </a:t>
          </a:r>
        </a:p>
      </dgm:t>
    </dgm:pt>
    <dgm:pt modelId="{A971AA21-CC04-411B-A542-568EE522E900}" type="parTrans" cxnId="{47FA3956-DBBC-4D51-9D24-F8CBCADFE478}">
      <dgm:prSet/>
      <dgm:spPr/>
      <dgm:t>
        <a:bodyPr/>
        <a:lstStyle/>
        <a:p>
          <a:endParaRPr lang="en-US"/>
        </a:p>
      </dgm:t>
    </dgm:pt>
    <dgm:pt modelId="{363A1FAC-7E7A-4E16-97E7-61A69CEB082A}" type="sibTrans" cxnId="{47FA3956-DBBC-4D51-9D24-F8CBCADFE478}">
      <dgm:prSet/>
      <dgm:spPr/>
      <dgm:t>
        <a:bodyPr/>
        <a:lstStyle/>
        <a:p>
          <a:endParaRPr lang="en-US"/>
        </a:p>
      </dgm:t>
    </dgm:pt>
    <dgm:pt modelId="{0D729F4F-29D8-4F65-821C-26D7F046902D}">
      <dgm:prSet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Unit leadership</a:t>
          </a:r>
        </a:p>
      </dgm:t>
    </dgm:pt>
    <dgm:pt modelId="{6EE8C436-A90E-4C07-A76F-656884E6F385}" type="parTrans" cxnId="{AFFDAA46-EDA6-40D4-8C86-938000E90455}">
      <dgm:prSet/>
      <dgm:spPr/>
      <dgm:t>
        <a:bodyPr/>
        <a:lstStyle/>
        <a:p>
          <a:endParaRPr lang="en-US"/>
        </a:p>
      </dgm:t>
    </dgm:pt>
    <dgm:pt modelId="{EFBC1483-B468-49CE-9346-52E18F789ADC}" type="sibTrans" cxnId="{AFFDAA46-EDA6-40D4-8C86-938000E90455}">
      <dgm:prSet/>
      <dgm:spPr/>
      <dgm:t>
        <a:bodyPr/>
        <a:lstStyle/>
        <a:p>
          <a:endParaRPr lang="en-US"/>
        </a:p>
      </dgm:t>
    </dgm:pt>
    <dgm:pt modelId="{6C973B89-F994-4341-8CBD-42F99D1261EB}">
      <dgm:prSet phldr="0"/>
      <dgm:spPr/>
      <dgm:t>
        <a:bodyPr/>
        <a:lstStyle/>
        <a:p>
          <a:r>
            <a:rPr lang="en-US" dirty="0">
              <a:latin typeface="Calibri" panose="020F0502020204030204"/>
            </a:rPr>
            <a:t>Educator</a:t>
          </a:r>
          <a:endParaRPr lang="en-US" dirty="0"/>
        </a:p>
      </dgm:t>
    </dgm:pt>
    <dgm:pt modelId="{D22DE4C2-F5BE-4E97-83AE-BBA58B78C3FB}" type="parTrans" cxnId="{EDE8455E-D415-4DBA-B004-20AFFE3D9B73}">
      <dgm:prSet/>
      <dgm:spPr/>
      <dgm:t>
        <a:bodyPr/>
        <a:lstStyle/>
        <a:p>
          <a:endParaRPr lang="en-US"/>
        </a:p>
      </dgm:t>
    </dgm:pt>
    <dgm:pt modelId="{74783C64-8A56-4B6C-9F47-91BBFEB4BA87}" type="sibTrans" cxnId="{EDE8455E-D415-4DBA-B004-20AFFE3D9B73}">
      <dgm:prSet/>
      <dgm:spPr/>
      <dgm:t>
        <a:bodyPr/>
        <a:lstStyle/>
        <a:p>
          <a:endParaRPr lang="en-US"/>
        </a:p>
      </dgm:t>
    </dgm:pt>
    <dgm:pt modelId="{6392F611-66E4-4D39-9761-49C98CE46FE2}">
      <dgm:prSet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Provider and RN Champion</a:t>
          </a:r>
        </a:p>
      </dgm:t>
    </dgm:pt>
    <dgm:pt modelId="{987292BA-CA26-4502-BF85-DC49FC306179}" type="parTrans" cxnId="{BAD26CD4-4DCC-4525-8A06-12B01903EDEB}">
      <dgm:prSet/>
      <dgm:spPr/>
      <dgm:t>
        <a:bodyPr/>
        <a:lstStyle/>
        <a:p>
          <a:endParaRPr lang="en-US"/>
        </a:p>
      </dgm:t>
    </dgm:pt>
    <dgm:pt modelId="{EBF461BC-27EC-4822-BD83-028A614F6FBB}" type="sibTrans" cxnId="{BAD26CD4-4DCC-4525-8A06-12B01903EDEB}">
      <dgm:prSet/>
      <dgm:spPr/>
      <dgm:t>
        <a:bodyPr/>
        <a:lstStyle/>
        <a:p>
          <a:endParaRPr lang="en-US"/>
        </a:p>
      </dgm:t>
    </dgm:pt>
    <dgm:pt modelId="{8A3941C0-5093-4428-90DA-D056095F5315}">
      <dgm:prSet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PP Leader Rounds</a:t>
          </a:r>
          <a:endParaRPr lang="en-US" dirty="0"/>
        </a:p>
      </dgm:t>
    </dgm:pt>
    <dgm:pt modelId="{AEDA8040-8CCD-4799-B23C-279FBC51C85B}" type="parTrans" cxnId="{8BEF12B4-91F3-43FD-9A82-5B6F5CC0A088}">
      <dgm:prSet/>
      <dgm:spPr/>
      <dgm:t>
        <a:bodyPr/>
        <a:lstStyle/>
        <a:p>
          <a:endParaRPr lang="en-US"/>
        </a:p>
      </dgm:t>
    </dgm:pt>
    <dgm:pt modelId="{A4B33320-5B0B-4D21-8B53-ACA2CC1534A1}" type="sibTrans" cxnId="{8BEF12B4-91F3-43FD-9A82-5B6F5CC0A088}">
      <dgm:prSet/>
      <dgm:spPr/>
      <dgm:t>
        <a:bodyPr/>
        <a:lstStyle/>
        <a:p>
          <a:endParaRPr lang="en-US"/>
        </a:p>
      </dgm:t>
    </dgm:pt>
    <dgm:pt modelId="{6E99E5BC-DDA3-4ED6-987C-70240B730935}">
      <dgm:prSet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Community Outreach (invite doulas, community health worker, home visit program, community health clinic etc.)</a:t>
          </a:r>
        </a:p>
      </dgm:t>
    </dgm:pt>
    <dgm:pt modelId="{A085B666-94B6-48B6-A6FC-4415F6C9676E}" type="parTrans" cxnId="{4E57982A-0F73-4FB8-BE21-D096DF2963A4}">
      <dgm:prSet/>
      <dgm:spPr/>
      <dgm:t>
        <a:bodyPr/>
        <a:lstStyle/>
        <a:p>
          <a:endParaRPr lang="en-US"/>
        </a:p>
      </dgm:t>
    </dgm:pt>
    <dgm:pt modelId="{D89C26AB-DC9C-4587-9EDF-27556A73BC2C}" type="sibTrans" cxnId="{4E57982A-0F73-4FB8-BE21-D096DF2963A4}">
      <dgm:prSet/>
      <dgm:spPr/>
      <dgm:t>
        <a:bodyPr/>
        <a:lstStyle/>
        <a:p>
          <a:endParaRPr lang="en-US"/>
        </a:p>
      </dgm:t>
    </dgm:pt>
    <dgm:pt modelId="{A7A89413-4177-4E9C-83AA-413811BED4EB}">
      <dgm:prSet phldr="0"/>
      <dgm:spPr/>
      <dgm:t>
        <a:bodyPr/>
        <a:lstStyle/>
        <a:p>
          <a:pPr rtl="0"/>
          <a:r>
            <a:rPr lang="en-US" b="1" dirty="0">
              <a:latin typeface="Calibri" panose="020F0502020204030204"/>
            </a:rPr>
            <a:t> Celebration of Respectful Care and Patient Voices Breakfast with clinical team members and patients! </a:t>
          </a:r>
          <a:endParaRPr lang="en-US" b="0" dirty="0">
            <a:latin typeface="Calibri" panose="020F0502020204030204"/>
          </a:endParaRPr>
        </a:p>
      </dgm:t>
    </dgm:pt>
    <dgm:pt modelId="{AB0551D0-65D7-4C59-8228-D0A0B13DC841}" type="parTrans" cxnId="{5642AC57-A7F8-4AF0-9455-1C42D04FC06A}">
      <dgm:prSet/>
      <dgm:spPr/>
      <dgm:t>
        <a:bodyPr/>
        <a:lstStyle/>
        <a:p>
          <a:endParaRPr lang="en-US"/>
        </a:p>
      </dgm:t>
    </dgm:pt>
    <dgm:pt modelId="{35B12FEB-1D71-401D-BD1B-441817A2FF1A}" type="sibTrans" cxnId="{5642AC57-A7F8-4AF0-9455-1C42D04FC06A}">
      <dgm:prSet/>
      <dgm:spPr/>
      <dgm:t>
        <a:bodyPr/>
        <a:lstStyle/>
        <a:p>
          <a:endParaRPr lang="en-US"/>
        </a:p>
      </dgm:t>
    </dgm:pt>
    <dgm:pt modelId="{C5C7A9D2-AB6A-4CA7-B22D-7FED73689131}">
      <dgm:prSet phldr="0"/>
      <dgm:spPr/>
      <dgm:t>
        <a:bodyPr/>
        <a:lstStyle/>
        <a:p>
          <a:pPr rtl="0"/>
          <a:r>
            <a:rPr lang="en-US" b="0" dirty="0">
              <a:latin typeface="Calibri" panose="020F0502020204030204"/>
            </a:rPr>
            <a:t> </a:t>
          </a:r>
          <a:r>
            <a:rPr lang="en-US" b="0" dirty="0"/>
            <a:t>Consider using a Grand Rounds time slot</a:t>
          </a:r>
        </a:p>
      </dgm:t>
    </dgm:pt>
    <dgm:pt modelId="{04AD0233-945C-4F62-AF8B-78E985B75467}" type="parTrans" cxnId="{C8EF9FDB-CE33-4854-8249-32CEEB35FEC2}">
      <dgm:prSet/>
      <dgm:spPr/>
      <dgm:t>
        <a:bodyPr/>
        <a:lstStyle/>
        <a:p>
          <a:endParaRPr lang="en-US"/>
        </a:p>
      </dgm:t>
    </dgm:pt>
    <dgm:pt modelId="{F0087600-4B4C-4ABA-8706-29D397ACDB49}" type="sibTrans" cxnId="{C8EF9FDB-CE33-4854-8249-32CEEB35FEC2}">
      <dgm:prSet/>
      <dgm:spPr/>
      <dgm:t>
        <a:bodyPr/>
        <a:lstStyle/>
        <a:p>
          <a:endParaRPr lang="en-US"/>
        </a:p>
      </dgm:t>
    </dgm:pt>
    <dgm:pt modelId="{29D20E26-AC15-46D9-8E27-40EE9321EEB1}">
      <dgm:prSet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Social work</a:t>
          </a:r>
        </a:p>
      </dgm:t>
    </dgm:pt>
    <dgm:pt modelId="{8EF25E85-052E-4003-9587-CC2C2E9AB4D3}" type="parTrans" cxnId="{565B5412-FBBB-4474-8DAC-7AB53BB54C92}">
      <dgm:prSet/>
      <dgm:spPr/>
      <dgm:t>
        <a:bodyPr/>
        <a:lstStyle/>
        <a:p>
          <a:endParaRPr lang="en-US"/>
        </a:p>
      </dgm:t>
    </dgm:pt>
    <dgm:pt modelId="{5369ACEC-CB35-4D36-851E-2FE4A3358915}" type="sibTrans" cxnId="{565B5412-FBBB-4474-8DAC-7AB53BB54C92}">
      <dgm:prSet/>
      <dgm:spPr/>
      <dgm:t>
        <a:bodyPr/>
        <a:lstStyle/>
        <a:p>
          <a:endParaRPr lang="en-US"/>
        </a:p>
      </dgm:t>
    </dgm:pt>
    <dgm:pt modelId="{F214892B-D3E7-4D0C-88AD-5BE6B7857990}">
      <dgm:prSet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(YOUR BE TEAM!)</a:t>
          </a:r>
        </a:p>
      </dgm:t>
    </dgm:pt>
    <dgm:pt modelId="{EE984B42-1B8C-4936-ACA2-0269955AFAD2}" type="parTrans" cxnId="{9FF418E4-E416-4026-8116-1E9A8A6693C5}">
      <dgm:prSet/>
      <dgm:spPr/>
    </dgm:pt>
    <dgm:pt modelId="{6C3A1402-A71E-45FA-A544-5F2D212CBFCC}" type="sibTrans" cxnId="{9FF418E4-E416-4026-8116-1E9A8A6693C5}">
      <dgm:prSet/>
      <dgm:spPr/>
    </dgm:pt>
    <dgm:pt modelId="{916C6B26-F26A-432B-9256-2C153028D1FB}">
      <dgm:prSet phldr="0"/>
      <dgm:spPr/>
      <dgm:t>
        <a:bodyPr/>
        <a:lstStyle/>
        <a:p>
          <a:pPr rtl="0"/>
          <a:r>
            <a:rPr lang="en-US" b="0" dirty="0">
              <a:solidFill>
                <a:schemeClr val="tx1"/>
              </a:solidFill>
              <a:latin typeface="Calibri" panose="020F0502020204030204"/>
            </a:rPr>
            <a:t> June, July, and August- Summer focus</a:t>
          </a:r>
          <a:endParaRPr lang="en-US" b="0" dirty="0">
            <a:solidFill>
              <a:schemeClr val="tx1"/>
            </a:solidFill>
          </a:endParaRPr>
        </a:p>
      </dgm:t>
    </dgm:pt>
    <dgm:pt modelId="{92E15553-1BCA-46F5-A352-9D0A8033FE8F}" type="parTrans" cxnId="{928FF6AF-8821-4E52-B1FC-EFD9C2924476}">
      <dgm:prSet/>
      <dgm:spPr/>
    </dgm:pt>
    <dgm:pt modelId="{A062768C-FA35-4B79-AE83-18294BCB5B0E}" type="sibTrans" cxnId="{928FF6AF-8821-4E52-B1FC-EFD9C2924476}">
      <dgm:prSet/>
      <dgm:spPr/>
    </dgm:pt>
    <dgm:pt modelId="{EB404C3A-0DD5-4F40-B1D9-1E3B3CA7D856}" type="pres">
      <dgm:prSet presAssocID="{9AA870F4-49AD-437A-8BDB-B899221F057C}" presName="Name0" presStyleCnt="0">
        <dgm:presLayoutVars>
          <dgm:dir/>
          <dgm:resizeHandles val="exact"/>
        </dgm:presLayoutVars>
      </dgm:prSet>
      <dgm:spPr/>
    </dgm:pt>
    <dgm:pt modelId="{BA16F5E3-210F-4D9A-9D84-A0904B2A01C7}" type="pres">
      <dgm:prSet presAssocID="{CD97E338-E4D7-488B-87FE-AF6873D798F2}" presName="Name5" presStyleLbl="vennNode1" presStyleIdx="0" presStyleCnt="4">
        <dgm:presLayoutVars>
          <dgm:bulletEnabled val="1"/>
        </dgm:presLayoutVars>
      </dgm:prSet>
      <dgm:spPr/>
    </dgm:pt>
    <dgm:pt modelId="{8016BE7E-1B30-4C90-871B-364463F161BD}" type="pres">
      <dgm:prSet presAssocID="{86884BE3-8B9A-45B4-8F58-CA6AC32DA2EE}" presName="space" presStyleCnt="0"/>
      <dgm:spPr/>
    </dgm:pt>
    <dgm:pt modelId="{1190B134-FC49-4FA7-A077-E37CE66721D9}" type="pres">
      <dgm:prSet presAssocID="{D4B431A8-AD1D-4424-8DA0-85434C524D46}" presName="Name5" presStyleLbl="vennNode1" presStyleIdx="1" presStyleCnt="4">
        <dgm:presLayoutVars>
          <dgm:bulletEnabled val="1"/>
        </dgm:presLayoutVars>
      </dgm:prSet>
      <dgm:spPr/>
    </dgm:pt>
    <dgm:pt modelId="{6DAC2A89-E9C1-46B1-BFF1-7E88F94B9495}" type="pres">
      <dgm:prSet presAssocID="{363A1FAC-7E7A-4E16-97E7-61A69CEB082A}" presName="space" presStyleCnt="0"/>
      <dgm:spPr/>
    </dgm:pt>
    <dgm:pt modelId="{A35AFF8D-434F-45AE-B678-42454849FFC5}" type="pres">
      <dgm:prSet presAssocID="{8B188287-DA88-4A80-8A77-92204B2AE764}" presName="Name5" presStyleLbl="vennNode1" presStyleIdx="2" presStyleCnt="4">
        <dgm:presLayoutVars>
          <dgm:bulletEnabled val="1"/>
        </dgm:presLayoutVars>
      </dgm:prSet>
      <dgm:spPr/>
    </dgm:pt>
    <dgm:pt modelId="{6F3BCE43-2C94-43EC-B318-5DD2CAED51F9}" type="pres">
      <dgm:prSet presAssocID="{8F918AF7-74F0-41F2-97AC-8F559365DC91}" presName="space" presStyleCnt="0"/>
      <dgm:spPr/>
    </dgm:pt>
    <dgm:pt modelId="{23C263ED-262F-4056-B1CE-A1FFB48795DC}" type="pres">
      <dgm:prSet presAssocID="{A7A89413-4177-4E9C-83AA-413811BED4EB}" presName="Name5" presStyleLbl="vennNode1" presStyleIdx="3" presStyleCnt="4">
        <dgm:presLayoutVars>
          <dgm:bulletEnabled val="1"/>
        </dgm:presLayoutVars>
      </dgm:prSet>
      <dgm:spPr/>
    </dgm:pt>
  </dgm:ptLst>
  <dgm:cxnLst>
    <dgm:cxn modelId="{5C395110-7E6D-4218-96D0-077887B3D946}" type="presOf" srcId="{CD97E338-E4D7-488B-87FE-AF6873D798F2}" destId="{BA16F5E3-210F-4D9A-9D84-A0904B2A01C7}" srcOrd="0" destOrd="0" presId="urn:microsoft.com/office/officeart/2005/8/layout/venn3"/>
    <dgm:cxn modelId="{565B5412-FBBB-4474-8DAC-7AB53BB54C92}" srcId="{CD97E338-E4D7-488B-87FE-AF6873D798F2}" destId="{29D20E26-AC15-46D9-8E27-40EE9321EEB1}" srcOrd="3" destOrd="0" parTransId="{8EF25E85-052E-4003-9587-CC2C2E9AB4D3}" sibTransId="{5369ACEC-CB35-4D36-851E-2FE4A3358915}"/>
    <dgm:cxn modelId="{A0F7F316-FD2D-49D2-B1E1-137CD5B20616}" type="presOf" srcId="{8A3941C0-5093-4428-90DA-D056095F5315}" destId="{A35AFF8D-434F-45AE-B678-42454849FFC5}" srcOrd="0" destOrd="1" presId="urn:microsoft.com/office/officeart/2005/8/layout/venn3"/>
    <dgm:cxn modelId="{3D0F1D24-538E-4CF9-9C18-89F6DDFAABD5}" type="presOf" srcId="{916C6B26-F26A-432B-9256-2C153028D1FB}" destId="{1190B134-FC49-4FA7-A077-E37CE66721D9}" srcOrd="0" destOrd="1" presId="urn:microsoft.com/office/officeart/2005/8/layout/venn3"/>
    <dgm:cxn modelId="{4E57982A-0F73-4FB8-BE21-D096DF2963A4}" srcId="{8B188287-DA88-4A80-8A77-92204B2AE764}" destId="{6E99E5BC-DDA3-4ED6-987C-70240B730935}" srcOrd="2" destOrd="0" parTransId="{A085B666-94B6-48B6-A6FC-4415F6C9676E}" sibTransId="{D89C26AB-DC9C-4587-9EDF-27556A73BC2C}"/>
    <dgm:cxn modelId="{BBB7172D-97B5-4437-A962-0AAAF4623914}" type="presOf" srcId="{29D20E26-AC15-46D9-8E27-40EE9321EEB1}" destId="{BA16F5E3-210F-4D9A-9D84-A0904B2A01C7}" srcOrd="0" destOrd="4" presId="urn:microsoft.com/office/officeart/2005/8/layout/venn3"/>
    <dgm:cxn modelId="{D475C22E-B8D6-4914-9409-809F7E775EC8}" type="presOf" srcId="{6392F611-66E4-4D39-9761-49C98CE46FE2}" destId="{BA16F5E3-210F-4D9A-9D84-A0904B2A01C7}" srcOrd="0" destOrd="3" presId="urn:microsoft.com/office/officeart/2005/8/layout/venn3"/>
    <dgm:cxn modelId="{89D7613C-47CD-4532-8DBE-FEF808371C09}" srcId="{8B188287-DA88-4A80-8A77-92204B2AE764}" destId="{15E6902D-5322-412B-955C-6D94CE6B4DAF}" srcOrd="1" destOrd="0" parTransId="{9F6EB303-ED57-4A56-BA7A-7F6CF8347D17}" sibTransId="{F506786C-8AE8-441B-B23C-3F6F23D1CEC4}"/>
    <dgm:cxn modelId="{EDE8455E-D415-4DBA-B004-20AFFE3D9B73}" srcId="{CD97E338-E4D7-488B-87FE-AF6873D798F2}" destId="{6C973B89-F994-4341-8CBD-42F99D1261EB}" srcOrd="1" destOrd="0" parTransId="{D22DE4C2-F5BE-4E97-83AE-BBA58B78C3FB}" sibTransId="{74783C64-8A56-4B6C-9F47-91BBFEB4BA87}"/>
    <dgm:cxn modelId="{E57BBD62-2BEA-40B1-8905-C988145EED4F}" type="presOf" srcId="{9AA870F4-49AD-437A-8BDB-B899221F057C}" destId="{EB404C3A-0DD5-4F40-B1D9-1E3B3CA7D856}" srcOrd="0" destOrd="0" presId="urn:microsoft.com/office/officeart/2005/8/layout/venn3"/>
    <dgm:cxn modelId="{E1C3C665-931B-497F-8007-A0D31C03BD37}" type="presOf" srcId="{6C973B89-F994-4341-8CBD-42F99D1261EB}" destId="{BA16F5E3-210F-4D9A-9D84-A0904B2A01C7}" srcOrd="0" destOrd="2" presId="urn:microsoft.com/office/officeart/2005/8/layout/venn3"/>
    <dgm:cxn modelId="{AFFDAA46-EDA6-40D4-8C86-938000E90455}" srcId="{CD97E338-E4D7-488B-87FE-AF6873D798F2}" destId="{0D729F4F-29D8-4F65-821C-26D7F046902D}" srcOrd="0" destOrd="0" parTransId="{6EE8C436-A90E-4C07-A76F-656884E6F385}" sibTransId="{EFBC1483-B468-49CE-9346-52E18F789ADC}"/>
    <dgm:cxn modelId="{CC49344A-ACA1-4F0C-A761-63B2448BCBD0}" srcId="{9AA870F4-49AD-437A-8BDB-B899221F057C}" destId="{8B188287-DA88-4A80-8A77-92204B2AE764}" srcOrd="2" destOrd="0" parTransId="{5620FD8F-6E5F-43A2-A655-D245011858D3}" sibTransId="{8F918AF7-74F0-41F2-97AC-8F559365DC91}"/>
    <dgm:cxn modelId="{47FA3956-DBBC-4D51-9D24-F8CBCADFE478}" srcId="{9AA870F4-49AD-437A-8BDB-B899221F057C}" destId="{D4B431A8-AD1D-4424-8DA0-85434C524D46}" srcOrd="1" destOrd="0" parTransId="{A971AA21-CC04-411B-A542-568EE522E900}" sibTransId="{363A1FAC-7E7A-4E16-97E7-61A69CEB082A}"/>
    <dgm:cxn modelId="{5642AC57-A7F8-4AF0-9455-1C42D04FC06A}" srcId="{9AA870F4-49AD-437A-8BDB-B899221F057C}" destId="{A7A89413-4177-4E9C-83AA-413811BED4EB}" srcOrd="3" destOrd="0" parTransId="{AB0551D0-65D7-4C59-8228-D0A0B13DC841}" sibTransId="{35B12FEB-1D71-401D-BD1B-441817A2FF1A}"/>
    <dgm:cxn modelId="{FD359189-DFF6-4689-9BE3-577B568C7BEC}" srcId="{9AA870F4-49AD-437A-8BDB-B899221F057C}" destId="{CD97E338-E4D7-488B-87FE-AF6873D798F2}" srcOrd="0" destOrd="0" parTransId="{2339AB5C-1D10-4B14-B990-D75A55FB3B3E}" sibTransId="{86884BE3-8B9A-45B4-8F58-CA6AC32DA2EE}"/>
    <dgm:cxn modelId="{560BD48D-9DD4-4F3C-9BBC-B848ABA97B8B}" type="presOf" srcId="{8B188287-DA88-4A80-8A77-92204B2AE764}" destId="{A35AFF8D-434F-45AE-B678-42454849FFC5}" srcOrd="0" destOrd="0" presId="urn:microsoft.com/office/officeart/2005/8/layout/venn3"/>
    <dgm:cxn modelId="{7B2C5090-95FD-4394-B14D-31E537DDF1DB}" type="presOf" srcId="{A7A89413-4177-4E9C-83AA-413811BED4EB}" destId="{23C263ED-262F-4056-B1CE-A1FFB48795DC}" srcOrd="0" destOrd="0" presId="urn:microsoft.com/office/officeart/2005/8/layout/venn3"/>
    <dgm:cxn modelId="{902EDAA5-BCED-4C20-B5FC-BF3E765B04A1}" type="presOf" srcId="{C5C7A9D2-AB6A-4CA7-B22D-7FED73689131}" destId="{1190B134-FC49-4FA7-A077-E37CE66721D9}" srcOrd="0" destOrd="2" presId="urn:microsoft.com/office/officeart/2005/8/layout/venn3"/>
    <dgm:cxn modelId="{928FF6AF-8821-4E52-B1FC-EFD9C2924476}" srcId="{D4B431A8-AD1D-4424-8DA0-85434C524D46}" destId="{916C6B26-F26A-432B-9256-2C153028D1FB}" srcOrd="0" destOrd="0" parTransId="{92E15553-1BCA-46F5-A352-9D0A8033FE8F}" sibTransId="{A062768C-FA35-4B79-AE83-18294BCB5B0E}"/>
    <dgm:cxn modelId="{8BEF12B4-91F3-43FD-9A82-5B6F5CC0A088}" srcId="{8B188287-DA88-4A80-8A77-92204B2AE764}" destId="{8A3941C0-5093-4428-90DA-D056095F5315}" srcOrd="0" destOrd="0" parTransId="{AEDA8040-8CCD-4799-B23C-279FBC51C85B}" sibTransId="{A4B33320-5B0B-4D21-8B53-ACA2CC1534A1}"/>
    <dgm:cxn modelId="{BAD26CD4-4DCC-4525-8A06-12B01903EDEB}" srcId="{CD97E338-E4D7-488B-87FE-AF6873D798F2}" destId="{6392F611-66E4-4D39-9761-49C98CE46FE2}" srcOrd="2" destOrd="0" parTransId="{987292BA-CA26-4502-BF85-DC49FC306179}" sibTransId="{EBF461BC-27EC-4822-BD83-028A614F6FBB}"/>
    <dgm:cxn modelId="{EBFC79D4-345D-48A9-B62A-6D1A3C6EB234}" type="presOf" srcId="{6E99E5BC-DDA3-4ED6-987C-70240B730935}" destId="{A35AFF8D-434F-45AE-B678-42454849FFC5}" srcOrd="0" destOrd="3" presId="urn:microsoft.com/office/officeart/2005/8/layout/venn3"/>
    <dgm:cxn modelId="{3AF72ED9-4251-4AB7-8136-AE04CD137B79}" type="presOf" srcId="{15E6902D-5322-412B-955C-6D94CE6B4DAF}" destId="{A35AFF8D-434F-45AE-B678-42454849FFC5}" srcOrd="0" destOrd="2" presId="urn:microsoft.com/office/officeart/2005/8/layout/venn3"/>
    <dgm:cxn modelId="{C8EF9FDB-CE33-4854-8249-32CEEB35FEC2}" srcId="{D4B431A8-AD1D-4424-8DA0-85434C524D46}" destId="{C5C7A9D2-AB6A-4CA7-B22D-7FED73689131}" srcOrd="1" destOrd="0" parTransId="{04AD0233-945C-4F62-AF8B-78E985B75467}" sibTransId="{F0087600-4B4C-4ABA-8706-29D397ACDB49}"/>
    <dgm:cxn modelId="{9FF418E4-E416-4026-8116-1E9A8A6693C5}" srcId="{CD97E338-E4D7-488B-87FE-AF6873D798F2}" destId="{F214892B-D3E7-4D0C-88AD-5BE6B7857990}" srcOrd="4" destOrd="0" parTransId="{EE984B42-1B8C-4936-ACA2-0269955AFAD2}" sibTransId="{6C3A1402-A71E-45FA-A544-5F2D212CBFCC}"/>
    <dgm:cxn modelId="{EC7D8AEA-5F32-4B66-91D4-46DB86A344DE}" type="presOf" srcId="{F214892B-D3E7-4D0C-88AD-5BE6B7857990}" destId="{BA16F5E3-210F-4D9A-9D84-A0904B2A01C7}" srcOrd="0" destOrd="5" presId="urn:microsoft.com/office/officeart/2005/8/layout/venn3"/>
    <dgm:cxn modelId="{EF7F09F4-E97D-4029-BD95-B6B0048A70BA}" type="presOf" srcId="{0D729F4F-29D8-4F65-821C-26D7F046902D}" destId="{BA16F5E3-210F-4D9A-9D84-A0904B2A01C7}" srcOrd="0" destOrd="1" presId="urn:microsoft.com/office/officeart/2005/8/layout/venn3"/>
    <dgm:cxn modelId="{43E20BFF-6779-4995-ADF7-CB5FBCFBF456}" type="presOf" srcId="{D4B431A8-AD1D-4424-8DA0-85434C524D46}" destId="{1190B134-FC49-4FA7-A077-E37CE66721D9}" srcOrd="0" destOrd="0" presId="urn:microsoft.com/office/officeart/2005/8/layout/venn3"/>
    <dgm:cxn modelId="{94C2E357-F15D-468A-82EF-AFFC005B3429}" type="presParOf" srcId="{EB404C3A-0DD5-4F40-B1D9-1E3B3CA7D856}" destId="{BA16F5E3-210F-4D9A-9D84-A0904B2A01C7}" srcOrd="0" destOrd="0" presId="urn:microsoft.com/office/officeart/2005/8/layout/venn3"/>
    <dgm:cxn modelId="{E8BD8761-4243-4818-9114-6D573E6BB47F}" type="presParOf" srcId="{EB404C3A-0DD5-4F40-B1D9-1E3B3CA7D856}" destId="{8016BE7E-1B30-4C90-871B-364463F161BD}" srcOrd="1" destOrd="0" presId="urn:microsoft.com/office/officeart/2005/8/layout/venn3"/>
    <dgm:cxn modelId="{07551E6E-A932-4C72-A5DA-DF28B3CABA62}" type="presParOf" srcId="{EB404C3A-0DD5-4F40-B1D9-1E3B3CA7D856}" destId="{1190B134-FC49-4FA7-A077-E37CE66721D9}" srcOrd="2" destOrd="0" presId="urn:microsoft.com/office/officeart/2005/8/layout/venn3"/>
    <dgm:cxn modelId="{F4CDD4F4-66D3-4DCE-966E-764C5BFC20D4}" type="presParOf" srcId="{EB404C3A-0DD5-4F40-B1D9-1E3B3CA7D856}" destId="{6DAC2A89-E9C1-46B1-BFF1-7E88F94B9495}" srcOrd="3" destOrd="0" presId="urn:microsoft.com/office/officeart/2005/8/layout/venn3"/>
    <dgm:cxn modelId="{2BACB0AD-C95F-4215-8F82-DE03C632D340}" type="presParOf" srcId="{EB404C3A-0DD5-4F40-B1D9-1E3B3CA7D856}" destId="{A35AFF8D-434F-45AE-B678-42454849FFC5}" srcOrd="4" destOrd="0" presId="urn:microsoft.com/office/officeart/2005/8/layout/venn3"/>
    <dgm:cxn modelId="{841B3F5D-D8C6-473E-94C7-A31129026B10}" type="presParOf" srcId="{EB404C3A-0DD5-4F40-B1D9-1E3B3CA7D856}" destId="{6F3BCE43-2C94-43EC-B318-5DD2CAED51F9}" srcOrd="5" destOrd="0" presId="urn:microsoft.com/office/officeart/2005/8/layout/venn3"/>
    <dgm:cxn modelId="{2104EE3C-37BC-4239-BF9B-05CEE81E79DB}" type="presParOf" srcId="{EB404C3A-0DD5-4F40-B1D9-1E3B3CA7D856}" destId="{23C263ED-262F-4056-B1CE-A1FFB48795DC}" srcOrd="6" destOrd="0" presId="urn:microsoft.com/office/officeart/2005/8/layout/ven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FA967E0-91D2-41CD-9F67-DA12FE53FBF2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63421B49-6F0A-432A-9E1F-2F11BB966377}">
      <dgm:prSet/>
      <dgm:spPr/>
      <dgm:t>
        <a:bodyPr/>
        <a:lstStyle/>
        <a:p>
          <a:r>
            <a:rPr lang="en-US"/>
            <a:t>Federal and state funded in-home, in-person Home Visiting programs for at-risk Mom’s, babies</a:t>
          </a:r>
        </a:p>
      </dgm:t>
    </dgm:pt>
    <dgm:pt modelId="{53E19533-5EF1-4F6D-9724-71463D883BEB}" type="parTrans" cxnId="{4ACA617E-4570-4EC1-9E78-36339F3C581F}">
      <dgm:prSet/>
      <dgm:spPr/>
      <dgm:t>
        <a:bodyPr/>
        <a:lstStyle/>
        <a:p>
          <a:endParaRPr lang="en-US"/>
        </a:p>
      </dgm:t>
    </dgm:pt>
    <dgm:pt modelId="{A2C69BDA-1C1F-40D7-91BB-BA8277CE1D3D}" type="sibTrans" cxnId="{4ACA617E-4570-4EC1-9E78-36339F3C581F}">
      <dgm:prSet/>
      <dgm:spPr/>
      <dgm:t>
        <a:bodyPr/>
        <a:lstStyle/>
        <a:p>
          <a:endParaRPr lang="en-US"/>
        </a:p>
      </dgm:t>
    </dgm:pt>
    <dgm:pt modelId="{192863FD-2875-4CF8-BAA4-757A09B95F32}">
      <dgm:prSet/>
      <dgm:spPr/>
      <dgm:t>
        <a:bodyPr/>
        <a:lstStyle/>
        <a:p>
          <a:r>
            <a:rPr lang="en-US"/>
            <a:t>Program Goals:</a:t>
          </a:r>
        </a:p>
      </dgm:t>
    </dgm:pt>
    <dgm:pt modelId="{E40F0D2D-B230-4BF3-936E-8B6A3FA57E4E}" type="parTrans" cxnId="{8E5D0D12-DC1E-458D-82CB-5DEBAA64183D}">
      <dgm:prSet/>
      <dgm:spPr/>
      <dgm:t>
        <a:bodyPr/>
        <a:lstStyle/>
        <a:p>
          <a:endParaRPr lang="en-US"/>
        </a:p>
      </dgm:t>
    </dgm:pt>
    <dgm:pt modelId="{78068177-D871-48D2-B140-9293A91D075A}" type="sibTrans" cxnId="{8E5D0D12-DC1E-458D-82CB-5DEBAA64183D}">
      <dgm:prSet/>
      <dgm:spPr/>
      <dgm:t>
        <a:bodyPr/>
        <a:lstStyle/>
        <a:p>
          <a:endParaRPr lang="en-US"/>
        </a:p>
      </dgm:t>
    </dgm:pt>
    <dgm:pt modelId="{DF3E5610-0FF8-476D-B1B9-FDE642CB38C3}">
      <dgm:prSet/>
      <dgm:spPr/>
      <dgm:t>
        <a:bodyPr/>
        <a:lstStyle/>
        <a:p>
          <a:r>
            <a:rPr lang="en-US"/>
            <a:t>1.  Improvement in health and well-being of Mom’s and their baby</a:t>
          </a:r>
        </a:p>
      </dgm:t>
    </dgm:pt>
    <dgm:pt modelId="{14A7ABE4-F75F-458A-B1C5-8B0D90175964}" type="parTrans" cxnId="{08B05183-3B9C-41A6-956E-C7C30D2E3FBA}">
      <dgm:prSet/>
      <dgm:spPr/>
      <dgm:t>
        <a:bodyPr/>
        <a:lstStyle/>
        <a:p>
          <a:endParaRPr lang="en-US"/>
        </a:p>
      </dgm:t>
    </dgm:pt>
    <dgm:pt modelId="{5B525A15-C7E2-4B33-9ACB-2CDEFB511725}" type="sibTrans" cxnId="{08B05183-3B9C-41A6-956E-C7C30D2E3FBA}">
      <dgm:prSet/>
      <dgm:spPr/>
      <dgm:t>
        <a:bodyPr/>
        <a:lstStyle/>
        <a:p>
          <a:endParaRPr lang="en-US"/>
        </a:p>
      </dgm:t>
    </dgm:pt>
    <dgm:pt modelId="{3787A4C3-AF31-4552-9948-186E6B51C7A8}">
      <dgm:prSet/>
      <dgm:spPr/>
      <dgm:t>
        <a:bodyPr/>
        <a:lstStyle/>
        <a:p>
          <a:r>
            <a:rPr lang="en-US"/>
            <a:t>2. Provide education on topics related to health and well-being of Mom’s and baby</a:t>
          </a:r>
        </a:p>
      </dgm:t>
    </dgm:pt>
    <dgm:pt modelId="{408D9E61-BFB5-48C4-83FA-43DD5884122E}" type="parTrans" cxnId="{9DF24360-D206-4BB1-AA87-553482E129D7}">
      <dgm:prSet/>
      <dgm:spPr/>
      <dgm:t>
        <a:bodyPr/>
        <a:lstStyle/>
        <a:p>
          <a:endParaRPr lang="en-US"/>
        </a:p>
      </dgm:t>
    </dgm:pt>
    <dgm:pt modelId="{14A6E344-D11E-4D85-9CF2-D5105AEAB5FA}" type="sibTrans" cxnId="{9DF24360-D206-4BB1-AA87-553482E129D7}">
      <dgm:prSet/>
      <dgm:spPr/>
      <dgm:t>
        <a:bodyPr/>
        <a:lstStyle/>
        <a:p>
          <a:endParaRPr lang="en-US"/>
        </a:p>
      </dgm:t>
    </dgm:pt>
    <dgm:pt modelId="{A3F611B2-6251-4BB2-B4D0-8645E12BBCF9}">
      <dgm:prSet/>
      <dgm:spPr/>
      <dgm:t>
        <a:bodyPr/>
        <a:lstStyle/>
        <a:p>
          <a:r>
            <a:rPr lang="en-US"/>
            <a:t>3. Referrals to community supports</a:t>
          </a:r>
        </a:p>
      </dgm:t>
    </dgm:pt>
    <dgm:pt modelId="{6C4CCB5C-55C4-4329-8B1D-BCE8E96B1EA1}" type="parTrans" cxnId="{36841F51-4B0C-4B96-8FB8-A8506B5A33E2}">
      <dgm:prSet/>
      <dgm:spPr/>
      <dgm:t>
        <a:bodyPr/>
        <a:lstStyle/>
        <a:p>
          <a:endParaRPr lang="en-US"/>
        </a:p>
      </dgm:t>
    </dgm:pt>
    <dgm:pt modelId="{0DF17F06-3A86-49E6-9C42-7A3FD326175F}" type="sibTrans" cxnId="{36841F51-4B0C-4B96-8FB8-A8506B5A33E2}">
      <dgm:prSet/>
      <dgm:spPr/>
      <dgm:t>
        <a:bodyPr/>
        <a:lstStyle/>
        <a:p>
          <a:endParaRPr lang="en-US"/>
        </a:p>
      </dgm:t>
    </dgm:pt>
    <dgm:pt modelId="{7FA71478-3C86-4ED3-AE72-F1348D88C3A5}">
      <dgm:prSet/>
      <dgm:spPr/>
      <dgm:t>
        <a:bodyPr/>
        <a:lstStyle/>
        <a:p>
          <a:r>
            <a:rPr lang="en-US"/>
            <a:t>4. Address Social Determinant’s of Health</a:t>
          </a:r>
        </a:p>
      </dgm:t>
    </dgm:pt>
    <dgm:pt modelId="{7A1C1D93-BD28-4118-8917-35031820C6FC}" type="parTrans" cxnId="{19866236-B3D9-4EE1-886A-A7AC4AD3FA8C}">
      <dgm:prSet/>
      <dgm:spPr/>
      <dgm:t>
        <a:bodyPr/>
        <a:lstStyle/>
        <a:p>
          <a:endParaRPr lang="en-US"/>
        </a:p>
      </dgm:t>
    </dgm:pt>
    <dgm:pt modelId="{EE6E3CA5-F31D-4736-AF1A-CFBB752182C8}" type="sibTrans" cxnId="{19866236-B3D9-4EE1-886A-A7AC4AD3FA8C}">
      <dgm:prSet/>
      <dgm:spPr/>
      <dgm:t>
        <a:bodyPr/>
        <a:lstStyle/>
        <a:p>
          <a:endParaRPr lang="en-US"/>
        </a:p>
      </dgm:t>
    </dgm:pt>
    <dgm:pt modelId="{AF5695F6-057C-481D-B459-197660D5FED5}">
      <dgm:prSet/>
      <dgm:spPr/>
      <dgm:t>
        <a:bodyPr/>
        <a:lstStyle/>
        <a:p>
          <a:r>
            <a:rPr lang="en-US"/>
            <a:t>5. Support and empowerment</a:t>
          </a:r>
        </a:p>
      </dgm:t>
    </dgm:pt>
    <dgm:pt modelId="{B75541ED-D024-4BD2-9231-A8A72FEE0880}" type="parTrans" cxnId="{191DD378-B59D-4BE7-A252-82DA78688366}">
      <dgm:prSet/>
      <dgm:spPr/>
      <dgm:t>
        <a:bodyPr/>
        <a:lstStyle/>
        <a:p>
          <a:endParaRPr lang="en-US"/>
        </a:p>
      </dgm:t>
    </dgm:pt>
    <dgm:pt modelId="{7615522D-FA2B-42A3-9FEC-CE5934E9FC64}" type="sibTrans" cxnId="{191DD378-B59D-4BE7-A252-82DA78688366}">
      <dgm:prSet/>
      <dgm:spPr/>
      <dgm:t>
        <a:bodyPr/>
        <a:lstStyle/>
        <a:p>
          <a:endParaRPr lang="en-US"/>
        </a:p>
      </dgm:t>
    </dgm:pt>
    <dgm:pt modelId="{134833C1-091F-4411-B7BF-D8E4CC861E7B}" type="pres">
      <dgm:prSet presAssocID="{BFA967E0-91D2-41CD-9F67-DA12FE53FBF2}" presName="vert0" presStyleCnt="0">
        <dgm:presLayoutVars>
          <dgm:dir/>
          <dgm:animOne val="branch"/>
          <dgm:animLvl val="lvl"/>
        </dgm:presLayoutVars>
      </dgm:prSet>
      <dgm:spPr/>
    </dgm:pt>
    <dgm:pt modelId="{53B75F9C-50FE-4FCB-89A5-E9B5AE2DE8FE}" type="pres">
      <dgm:prSet presAssocID="{63421B49-6F0A-432A-9E1F-2F11BB966377}" presName="thickLine" presStyleLbl="alignNode1" presStyleIdx="0" presStyleCnt="7"/>
      <dgm:spPr/>
    </dgm:pt>
    <dgm:pt modelId="{59136547-7CBF-4AF7-BF0F-68A0C3AF5B56}" type="pres">
      <dgm:prSet presAssocID="{63421B49-6F0A-432A-9E1F-2F11BB966377}" presName="horz1" presStyleCnt="0"/>
      <dgm:spPr/>
    </dgm:pt>
    <dgm:pt modelId="{07B3D43C-53F9-46CC-A729-AA99DF6436EB}" type="pres">
      <dgm:prSet presAssocID="{63421B49-6F0A-432A-9E1F-2F11BB966377}" presName="tx1" presStyleLbl="revTx" presStyleIdx="0" presStyleCnt="7"/>
      <dgm:spPr/>
    </dgm:pt>
    <dgm:pt modelId="{B95F1488-352E-4A20-BEAA-43E59B53FA70}" type="pres">
      <dgm:prSet presAssocID="{63421B49-6F0A-432A-9E1F-2F11BB966377}" presName="vert1" presStyleCnt="0"/>
      <dgm:spPr/>
    </dgm:pt>
    <dgm:pt modelId="{298DC184-8CD5-40D4-93E1-D839FFD2B944}" type="pres">
      <dgm:prSet presAssocID="{192863FD-2875-4CF8-BAA4-757A09B95F32}" presName="thickLine" presStyleLbl="alignNode1" presStyleIdx="1" presStyleCnt="7"/>
      <dgm:spPr/>
    </dgm:pt>
    <dgm:pt modelId="{0DDB1AAB-CE20-46FD-A1D4-0D56AF3CEF8E}" type="pres">
      <dgm:prSet presAssocID="{192863FD-2875-4CF8-BAA4-757A09B95F32}" presName="horz1" presStyleCnt="0"/>
      <dgm:spPr/>
    </dgm:pt>
    <dgm:pt modelId="{29D8A330-28EC-4305-A94B-BACB2832A8C1}" type="pres">
      <dgm:prSet presAssocID="{192863FD-2875-4CF8-BAA4-757A09B95F32}" presName="tx1" presStyleLbl="revTx" presStyleIdx="1" presStyleCnt="7"/>
      <dgm:spPr/>
    </dgm:pt>
    <dgm:pt modelId="{43F30A47-D24C-4D6F-88ED-C7326BAAA61E}" type="pres">
      <dgm:prSet presAssocID="{192863FD-2875-4CF8-BAA4-757A09B95F32}" presName="vert1" presStyleCnt="0"/>
      <dgm:spPr/>
    </dgm:pt>
    <dgm:pt modelId="{3EEAF605-1302-451D-B20B-A93E266B62DC}" type="pres">
      <dgm:prSet presAssocID="{DF3E5610-0FF8-476D-B1B9-FDE642CB38C3}" presName="thickLine" presStyleLbl="alignNode1" presStyleIdx="2" presStyleCnt="7"/>
      <dgm:spPr/>
    </dgm:pt>
    <dgm:pt modelId="{FE2C8CDB-D86A-4A38-81F6-8BB6C5022A61}" type="pres">
      <dgm:prSet presAssocID="{DF3E5610-0FF8-476D-B1B9-FDE642CB38C3}" presName="horz1" presStyleCnt="0"/>
      <dgm:spPr/>
    </dgm:pt>
    <dgm:pt modelId="{CEB6B6EA-D3EE-4709-B15D-8A04423A038F}" type="pres">
      <dgm:prSet presAssocID="{DF3E5610-0FF8-476D-B1B9-FDE642CB38C3}" presName="tx1" presStyleLbl="revTx" presStyleIdx="2" presStyleCnt="7"/>
      <dgm:spPr/>
    </dgm:pt>
    <dgm:pt modelId="{687D4AC7-91B5-4772-9487-50216590D79E}" type="pres">
      <dgm:prSet presAssocID="{DF3E5610-0FF8-476D-B1B9-FDE642CB38C3}" presName="vert1" presStyleCnt="0"/>
      <dgm:spPr/>
    </dgm:pt>
    <dgm:pt modelId="{895757A7-943C-4CEC-885D-2FF047D70AA7}" type="pres">
      <dgm:prSet presAssocID="{3787A4C3-AF31-4552-9948-186E6B51C7A8}" presName="thickLine" presStyleLbl="alignNode1" presStyleIdx="3" presStyleCnt="7"/>
      <dgm:spPr/>
    </dgm:pt>
    <dgm:pt modelId="{43BD982C-7901-48B9-AAEB-216F88B65B7F}" type="pres">
      <dgm:prSet presAssocID="{3787A4C3-AF31-4552-9948-186E6B51C7A8}" presName="horz1" presStyleCnt="0"/>
      <dgm:spPr/>
    </dgm:pt>
    <dgm:pt modelId="{A5BDEA89-56A7-4B64-BC8D-9110C57E7ACA}" type="pres">
      <dgm:prSet presAssocID="{3787A4C3-AF31-4552-9948-186E6B51C7A8}" presName="tx1" presStyleLbl="revTx" presStyleIdx="3" presStyleCnt="7"/>
      <dgm:spPr/>
    </dgm:pt>
    <dgm:pt modelId="{CF307AE7-A68D-45A4-A69C-AF1B838A4034}" type="pres">
      <dgm:prSet presAssocID="{3787A4C3-AF31-4552-9948-186E6B51C7A8}" presName="vert1" presStyleCnt="0"/>
      <dgm:spPr/>
    </dgm:pt>
    <dgm:pt modelId="{F31F4FAC-020B-4EBC-AAFB-BE66D935409B}" type="pres">
      <dgm:prSet presAssocID="{A3F611B2-6251-4BB2-B4D0-8645E12BBCF9}" presName="thickLine" presStyleLbl="alignNode1" presStyleIdx="4" presStyleCnt="7"/>
      <dgm:spPr/>
    </dgm:pt>
    <dgm:pt modelId="{65C5771F-8796-4BAE-AD37-F0EBC73BDAFE}" type="pres">
      <dgm:prSet presAssocID="{A3F611B2-6251-4BB2-B4D0-8645E12BBCF9}" presName="horz1" presStyleCnt="0"/>
      <dgm:spPr/>
    </dgm:pt>
    <dgm:pt modelId="{4C6EE131-0DB9-477C-9303-06F633257426}" type="pres">
      <dgm:prSet presAssocID="{A3F611B2-6251-4BB2-B4D0-8645E12BBCF9}" presName="tx1" presStyleLbl="revTx" presStyleIdx="4" presStyleCnt="7"/>
      <dgm:spPr/>
    </dgm:pt>
    <dgm:pt modelId="{B6CAF2B7-3833-407C-B3BD-1F9355D454E7}" type="pres">
      <dgm:prSet presAssocID="{A3F611B2-6251-4BB2-B4D0-8645E12BBCF9}" presName="vert1" presStyleCnt="0"/>
      <dgm:spPr/>
    </dgm:pt>
    <dgm:pt modelId="{0A7BFD2F-B979-488D-9E4A-7D3578F71877}" type="pres">
      <dgm:prSet presAssocID="{7FA71478-3C86-4ED3-AE72-F1348D88C3A5}" presName="thickLine" presStyleLbl="alignNode1" presStyleIdx="5" presStyleCnt="7"/>
      <dgm:spPr/>
    </dgm:pt>
    <dgm:pt modelId="{479E6F23-665C-4221-BFD1-71405D7AFC6A}" type="pres">
      <dgm:prSet presAssocID="{7FA71478-3C86-4ED3-AE72-F1348D88C3A5}" presName="horz1" presStyleCnt="0"/>
      <dgm:spPr/>
    </dgm:pt>
    <dgm:pt modelId="{2EA07B0C-A48D-47E4-911A-7FF39CE8DB3B}" type="pres">
      <dgm:prSet presAssocID="{7FA71478-3C86-4ED3-AE72-F1348D88C3A5}" presName="tx1" presStyleLbl="revTx" presStyleIdx="5" presStyleCnt="7"/>
      <dgm:spPr/>
    </dgm:pt>
    <dgm:pt modelId="{99E0CF51-A25A-4216-AFDE-60D0C5983A45}" type="pres">
      <dgm:prSet presAssocID="{7FA71478-3C86-4ED3-AE72-F1348D88C3A5}" presName="vert1" presStyleCnt="0"/>
      <dgm:spPr/>
    </dgm:pt>
    <dgm:pt modelId="{86ADB949-359D-4AD8-809D-1B48C490340B}" type="pres">
      <dgm:prSet presAssocID="{AF5695F6-057C-481D-B459-197660D5FED5}" presName="thickLine" presStyleLbl="alignNode1" presStyleIdx="6" presStyleCnt="7"/>
      <dgm:spPr/>
    </dgm:pt>
    <dgm:pt modelId="{D3F1D8C0-19EE-4221-9AAA-F371AA92B1D7}" type="pres">
      <dgm:prSet presAssocID="{AF5695F6-057C-481D-B459-197660D5FED5}" presName="horz1" presStyleCnt="0"/>
      <dgm:spPr/>
    </dgm:pt>
    <dgm:pt modelId="{201812B0-9B9A-47B5-947A-45B62A19C0AA}" type="pres">
      <dgm:prSet presAssocID="{AF5695F6-057C-481D-B459-197660D5FED5}" presName="tx1" presStyleLbl="revTx" presStyleIdx="6" presStyleCnt="7"/>
      <dgm:spPr/>
    </dgm:pt>
    <dgm:pt modelId="{DA9B7F40-47CF-4303-AB02-180CABFDB98F}" type="pres">
      <dgm:prSet presAssocID="{AF5695F6-057C-481D-B459-197660D5FED5}" presName="vert1" presStyleCnt="0"/>
      <dgm:spPr/>
    </dgm:pt>
  </dgm:ptLst>
  <dgm:cxnLst>
    <dgm:cxn modelId="{8E5D0D12-DC1E-458D-82CB-5DEBAA64183D}" srcId="{BFA967E0-91D2-41CD-9F67-DA12FE53FBF2}" destId="{192863FD-2875-4CF8-BAA4-757A09B95F32}" srcOrd="1" destOrd="0" parTransId="{E40F0D2D-B230-4BF3-936E-8B6A3FA57E4E}" sibTransId="{78068177-D871-48D2-B140-9293A91D075A}"/>
    <dgm:cxn modelId="{AF38FD2A-7E77-4DC0-BEAA-67D951AF4345}" type="presOf" srcId="{A3F611B2-6251-4BB2-B4D0-8645E12BBCF9}" destId="{4C6EE131-0DB9-477C-9303-06F633257426}" srcOrd="0" destOrd="0" presId="urn:microsoft.com/office/officeart/2008/layout/LinedList"/>
    <dgm:cxn modelId="{E43C6C33-B9F4-4E3E-A23C-274A8F66E3AA}" type="presOf" srcId="{7FA71478-3C86-4ED3-AE72-F1348D88C3A5}" destId="{2EA07B0C-A48D-47E4-911A-7FF39CE8DB3B}" srcOrd="0" destOrd="0" presId="urn:microsoft.com/office/officeart/2008/layout/LinedList"/>
    <dgm:cxn modelId="{19866236-B3D9-4EE1-886A-A7AC4AD3FA8C}" srcId="{BFA967E0-91D2-41CD-9F67-DA12FE53FBF2}" destId="{7FA71478-3C86-4ED3-AE72-F1348D88C3A5}" srcOrd="5" destOrd="0" parTransId="{7A1C1D93-BD28-4118-8917-35031820C6FC}" sibTransId="{EE6E3CA5-F31D-4736-AF1A-CFBB752182C8}"/>
    <dgm:cxn modelId="{9DF24360-D206-4BB1-AA87-553482E129D7}" srcId="{BFA967E0-91D2-41CD-9F67-DA12FE53FBF2}" destId="{3787A4C3-AF31-4552-9948-186E6B51C7A8}" srcOrd="3" destOrd="0" parTransId="{408D9E61-BFB5-48C4-83FA-43DD5884122E}" sibTransId="{14A6E344-D11E-4D85-9CF2-D5105AEAB5FA}"/>
    <dgm:cxn modelId="{BA379141-A182-4644-A38C-3F219A615148}" type="presOf" srcId="{BFA967E0-91D2-41CD-9F67-DA12FE53FBF2}" destId="{134833C1-091F-4411-B7BF-D8E4CC861E7B}" srcOrd="0" destOrd="0" presId="urn:microsoft.com/office/officeart/2008/layout/LinedList"/>
    <dgm:cxn modelId="{CEDA896E-EC1E-48A2-A985-619640D18E78}" type="presOf" srcId="{63421B49-6F0A-432A-9E1F-2F11BB966377}" destId="{07B3D43C-53F9-46CC-A729-AA99DF6436EB}" srcOrd="0" destOrd="0" presId="urn:microsoft.com/office/officeart/2008/layout/LinedList"/>
    <dgm:cxn modelId="{7036D56F-A6D0-4144-842D-587B09F79FCC}" type="presOf" srcId="{3787A4C3-AF31-4552-9948-186E6B51C7A8}" destId="{A5BDEA89-56A7-4B64-BC8D-9110C57E7ACA}" srcOrd="0" destOrd="0" presId="urn:microsoft.com/office/officeart/2008/layout/LinedList"/>
    <dgm:cxn modelId="{36841F51-4B0C-4B96-8FB8-A8506B5A33E2}" srcId="{BFA967E0-91D2-41CD-9F67-DA12FE53FBF2}" destId="{A3F611B2-6251-4BB2-B4D0-8645E12BBCF9}" srcOrd="4" destOrd="0" parTransId="{6C4CCB5C-55C4-4329-8B1D-BCE8E96B1EA1}" sibTransId="{0DF17F06-3A86-49E6-9C42-7A3FD326175F}"/>
    <dgm:cxn modelId="{191DD378-B59D-4BE7-A252-82DA78688366}" srcId="{BFA967E0-91D2-41CD-9F67-DA12FE53FBF2}" destId="{AF5695F6-057C-481D-B459-197660D5FED5}" srcOrd="6" destOrd="0" parTransId="{B75541ED-D024-4BD2-9231-A8A72FEE0880}" sibTransId="{7615522D-FA2B-42A3-9FEC-CE5934E9FC64}"/>
    <dgm:cxn modelId="{4ACA617E-4570-4EC1-9E78-36339F3C581F}" srcId="{BFA967E0-91D2-41CD-9F67-DA12FE53FBF2}" destId="{63421B49-6F0A-432A-9E1F-2F11BB966377}" srcOrd="0" destOrd="0" parTransId="{53E19533-5EF1-4F6D-9724-71463D883BEB}" sibTransId="{A2C69BDA-1C1F-40D7-91BB-BA8277CE1D3D}"/>
    <dgm:cxn modelId="{08B05183-3B9C-41A6-956E-C7C30D2E3FBA}" srcId="{BFA967E0-91D2-41CD-9F67-DA12FE53FBF2}" destId="{DF3E5610-0FF8-476D-B1B9-FDE642CB38C3}" srcOrd="2" destOrd="0" parTransId="{14A7ABE4-F75F-458A-B1C5-8B0D90175964}" sibTransId="{5B525A15-C7E2-4B33-9ACB-2CDEFB511725}"/>
    <dgm:cxn modelId="{CDCF8F9E-504D-4E7E-9D05-236FBE977DDD}" type="presOf" srcId="{DF3E5610-0FF8-476D-B1B9-FDE642CB38C3}" destId="{CEB6B6EA-D3EE-4709-B15D-8A04423A038F}" srcOrd="0" destOrd="0" presId="urn:microsoft.com/office/officeart/2008/layout/LinedList"/>
    <dgm:cxn modelId="{A86AB7C1-C022-4C88-A7BB-C740E69214E5}" type="presOf" srcId="{192863FD-2875-4CF8-BAA4-757A09B95F32}" destId="{29D8A330-28EC-4305-A94B-BACB2832A8C1}" srcOrd="0" destOrd="0" presId="urn:microsoft.com/office/officeart/2008/layout/LinedList"/>
    <dgm:cxn modelId="{CC6A6FFF-D822-4D6E-AB7A-3E27C1E0CF9E}" type="presOf" srcId="{AF5695F6-057C-481D-B459-197660D5FED5}" destId="{201812B0-9B9A-47B5-947A-45B62A19C0AA}" srcOrd="0" destOrd="0" presId="urn:microsoft.com/office/officeart/2008/layout/LinedList"/>
    <dgm:cxn modelId="{65D61BF4-42A4-469D-9C12-641FE808C306}" type="presParOf" srcId="{134833C1-091F-4411-B7BF-D8E4CC861E7B}" destId="{53B75F9C-50FE-4FCB-89A5-E9B5AE2DE8FE}" srcOrd="0" destOrd="0" presId="urn:microsoft.com/office/officeart/2008/layout/LinedList"/>
    <dgm:cxn modelId="{FA0A39BE-EC56-4A98-BD4C-14ADEA935C0B}" type="presParOf" srcId="{134833C1-091F-4411-B7BF-D8E4CC861E7B}" destId="{59136547-7CBF-4AF7-BF0F-68A0C3AF5B56}" srcOrd="1" destOrd="0" presId="urn:microsoft.com/office/officeart/2008/layout/LinedList"/>
    <dgm:cxn modelId="{EDC55E44-23D6-4455-9B1E-645C56A61FD4}" type="presParOf" srcId="{59136547-7CBF-4AF7-BF0F-68A0C3AF5B56}" destId="{07B3D43C-53F9-46CC-A729-AA99DF6436EB}" srcOrd="0" destOrd="0" presId="urn:microsoft.com/office/officeart/2008/layout/LinedList"/>
    <dgm:cxn modelId="{30107645-342B-4BE4-AAF3-2B5BAA449748}" type="presParOf" srcId="{59136547-7CBF-4AF7-BF0F-68A0C3AF5B56}" destId="{B95F1488-352E-4A20-BEAA-43E59B53FA70}" srcOrd="1" destOrd="0" presId="urn:microsoft.com/office/officeart/2008/layout/LinedList"/>
    <dgm:cxn modelId="{A0AABECF-0366-4E8D-88AA-CB0C462383B5}" type="presParOf" srcId="{134833C1-091F-4411-B7BF-D8E4CC861E7B}" destId="{298DC184-8CD5-40D4-93E1-D839FFD2B944}" srcOrd="2" destOrd="0" presId="urn:microsoft.com/office/officeart/2008/layout/LinedList"/>
    <dgm:cxn modelId="{2444798E-2474-44B1-A667-A79F7657D8D3}" type="presParOf" srcId="{134833C1-091F-4411-B7BF-D8E4CC861E7B}" destId="{0DDB1AAB-CE20-46FD-A1D4-0D56AF3CEF8E}" srcOrd="3" destOrd="0" presId="urn:microsoft.com/office/officeart/2008/layout/LinedList"/>
    <dgm:cxn modelId="{9C407DB0-93DE-4DC4-BC7A-5DE093BC7D45}" type="presParOf" srcId="{0DDB1AAB-CE20-46FD-A1D4-0D56AF3CEF8E}" destId="{29D8A330-28EC-4305-A94B-BACB2832A8C1}" srcOrd="0" destOrd="0" presId="urn:microsoft.com/office/officeart/2008/layout/LinedList"/>
    <dgm:cxn modelId="{7B0135D7-8636-4950-9DFB-8D7A6BD9A6D7}" type="presParOf" srcId="{0DDB1AAB-CE20-46FD-A1D4-0D56AF3CEF8E}" destId="{43F30A47-D24C-4D6F-88ED-C7326BAAA61E}" srcOrd="1" destOrd="0" presId="urn:microsoft.com/office/officeart/2008/layout/LinedList"/>
    <dgm:cxn modelId="{8CA34738-1DB5-4A29-9D86-ED75BA86BA38}" type="presParOf" srcId="{134833C1-091F-4411-B7BF-D8E4CC861E7B}" destId="{3EEAF605-1302-451D-B20B-A93E266B62DC}" srcOrd="4" destOrd="0" presId="urn:microsoft.com/office/officeart/2008/layout/LinedList"/>
    <dgm:cxn modelId="{7688DD10-E548-4310-A1A1-55604E51C3A8}" type="presParOf" srcId="{134833C1-091F-4411-B7BF-D8E4CC861E7B}" destId="{FE2C8CDB-D86A-4A38-81F6-8BB6C5022A61}" srcOrd="5" destOrd="0" presId="urn:microsoft.com/office/officeart/2008/layout/LinedList"/>
    <dgm:cxn modelId="{AE5A88EC-6F74-4F4A-A3B8-964E9866A87B}" type="presParOf" srcId="{FE2C8CDB-D86A-4A38-81F6-8BB6C5022A61}" destId="{CEB6B6EA-D3EE-4709-B15D-8A04423A038F}" srcOrd="0" destOrd="0" presId="urn:microsoft.com/office/officeart/2008/layout/LinedList"/>
    <dgm:cxn modelId="{6C4CB7DE-1E66-4F31-AC5D-7536EC1A8E2F}" type="presParOf" srcId="{FE2C8CDB-D86A-4A38-81F6-8BB6C5022A61}" destId="{687D4AC7-91B5-4772-9487-50216590D79E}" srcOrd="1" destOrd="0" presId="urn:microsoft.com/office/officeart/2008/layout/LinedList"/>
    <dgm:cxn modelId="{BBCEC67F-365B-48E1-A467-82301B0F184B}" type="presParOf" srcId="{134833C1-091F-4411-B7BF-D8E4CC861E7B}" destId="{895757A7-943C-4CEC-885D-2FF047D70AA7}" srcOrd="6" destOrd="0" presId="urn:microsoft.com/office/officeart/2008/layout/LinedList"/>
    <dgm:cxn modelId="{EA96BE25-39D3-4410-8D64-9246EB8D185B}" type="presParOf" srcId="{134833C1-091F-4411-B7BF-D8E4CC861E7B}" destId="{43BD982C-7901-48B9-AAEB-216F88B65B7F}" srcOrd="7" destOrd="0" presId="urn:microsoft.com/office/officeart/2008/layout/LinedList"/>
    <dgm:cxn modelId="{B3AA23A2-9DD0-4896-9921-B4F52E6FE704}" type="presParOf" srcId="{43BD982C-7901-48B9-AAEB-216F88B65B7F}" destId="{A5BDEA89-56A7-4B64-BC8D-9110C57E7ACA}" srcOrd="0" destOrd="0" presId="urn:microsoft.com/office/officeart/2008/layout/LinedList"/>
    <dgm:cxn modelId="{254ED024-EF38-4472-9C72-612A0D9FC18F}" type="presParOf" srcId="{43BD982C-7901-48B9-AAEB-216F88B65B7F}" destId="{CF307AE7-A68D-45A4-A69C-AF1B838A4034}" srcOrd="1" destOrd="0" presId="urn:microsoft.com/office/officeart/2008/layout/LinedList"/>
    <dgm:cxn modelId="{EF6F98DC-EBF7-4824-B6F5-486E41E41EE6}" type="presParOf" srcId="{134833C1-091F-4411-B7BF-D8E4CC861E7B}" destId="{F31F4FAC-020B-4EBC-AAFB-BE66D935409B}" srcOrd="8" destOrd="0" presId="urn:microsoft.com/office/officeart/2008/layout/LinedList"/>
    <dgm:cxn modelId="{C1C6CD02-C4CE-466C-89FE-4ED13A2F1FF9}" type="presParOf" srcId="{134833C1-091F-4411-B7BF-D8E4CC861E7B}" destId="{65C5771F-8796-4BAE-AD37-F0EBC73BDAFE}" srcOrd="9" destOrd="0" presId="urn:microsoft.com/office/officeart/2008/layout/LinedList"/>
    <dgm:cxn modelId="{44A0FEC8-1C87-41A4-9900-2930F57152B6}" type="presParOf" srcId="{65C5771F-8796-4BAE-AD37-F0EBC73BDAFE}" destId="{4C6EE131-0DB9-477C-9303-06F633257426}" srcOrd="0" destOrd="0" presId="urn:microsoft.com/office/officeart/2008/layout/LinedList"/>
    <dgm:cxn modelId="{1DCF4E94-C087-447E-97E1-E0EC2CE2C60C}" type="presParOf" srcId="{65C5771F-8796-4BAE-AD37-F0EBC73BDAFE}" destId="{B6CAF2B7-3833-407C-B3BD-1F9355D454E7}" srcOrd="1" destOrd="0" presId="urn:microsoft.com/office/officeart/2008/layout/LinedList"/>
    <dgm:cxn modelId="{98AB5FA8-4877-408F-9F8C-4BDC3C46958E}" type="presParOf" srcId="{134833C1-091F-4411-B7BF-D8E4CC861E7B}" destId="{0A7BFD2F-B979-488D-9E4A-7D3578F71877}" srcOrd="10" destOrd="0" presId="urn:microsoft.com/office/officeart/2008/layout/LinedList"/>
    <dgm:cxn modelId="{5990B925-4F58-4FDC-9D24-969A65AA65EA}" type="presParOf" srcId="{134833C1-091F-4411-B7BF-D8E4CC861E7B}" destId="{479E6F23-665C-4221-BFD1-71405D7AFC6A}" srcOrd="11" destOrd="0" presId="urn:microsoft.com/office/officeart/2008/layout/LinedList"/>
    <dgm:cxn modelId="{D83F9CF2-7BB7-4BE0-9F50-724D2631777C}" type="presParOf" srcId="{479E6F23-665C-4221-BFD1-71405D7AFC6A}" destId="{2EA07B0C-A48D-47E4-911A-7FF39CE8DB3B}" srcOrd="0" destOrd="0" presId="urn:microsoft.com/office/officeart/2008/layout/LinedList"/>
    <dgm:cxn modelId="{08464A74-862B-42E8-A775-777D3369D32D}" type="presParOf" srcId="{479E6F23-665C-4221-BFD1-71405D7AFC6A}" destId="{99E0CF51-A25A-4216-AFDE-60D0C5983A45}" srcOrd="1" destOrd="0" presId="urn:microsoft.com/office/officeart/2008/layout/LinedList"/>
    <dgm:cxn modelId="{E8B9E7D4-47F1-48D6-A67C-15F97097B2B3}" type="presParOf" srcId="{134833C1-091F-4411-B7BF-D8E4CC861E7B}" destId="{86ADB949-359D-4AD8-809D-1B48C490340B}" srcOrd="12" destOrd="0" presId="urn:microsoft.com/office/officeart/2008/layout/LinedList"/>
    <dgm:cxn modelId="{540D587B-4628-4F5A-BD35-B1DEF1720962}" type="presParOf" srcId="{134833C1-091F-4411-B7BF-D8E4CC861E7B}" destId="{D3F1D8C0-19EE-4221-9AAA-F371AA92B1D7}" srcOrd="13" destOrd="0" presId="urn:microsoft.com/office/officeart/2008/layout/LinedList"/>
    <dgm:cxn modelId="{28ABF87A-1EE2-4412-B14A-DE9BDD6A344E}" type="presParOf" srcId="{D3F1D8C0-19EE-4221-9AAA-F371AA92B1D7}" destId="{201812B0-9B9A-47B5-947A-45B62A19C0AA}" srcOrd="0" destOrd="0" presId="urn:microsoft.com/office/officeart/2008/layout/LinedList"/>
    <dgm:cxn modelId="{CBAC7B62-148E-4615-8649-A2EF5D85FADC}" type="presParOf" srcId="{D3F1D8C0-19EE-4221-9AAA-F371AA92B1D7}" destId="{DA9B7F40-47CF-4303-AB02-180CABFDB98F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14F6E9-A33C-4A5E-9353-A4D1EF765898}">
      <dsp:nvSpPr>
        <dsp:cNvPr id="0" name=""/>
        <dsp:cNvSpPr/>
      </dsp:nvSpPr>
      <dsp:spPr>
        <a:xfrm>
          <a:off x="1252" y="1109295"/>
          <a:ext cx="4883722" cy="29302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>
              <a:solidFill>
                <a:schemeClr val="bg1"/>
              </a:solidFill>
              <a:latin typeface="Calibri"/>
              <a:cs typeface="Calibri"/>
            </a:rPr>
            <a:t>Goal for each Birth Equity team to identify and engage a patient partner before Face-to-Face conference in May 2024</a:t>
          </a:r>
        </a:p>
      </dsp:txBody>
      <dsp:txXfrm>
        <a:off x="1252" y="1109295"/>
        <a:ext cx="4883722" cy="2930233"/>
      </dsp:txXfrm>
    </dsp:sp>
    <dsp:sp modelId="{C2FCD772-AB90-4181-AAFA-507DF54BAF27}">
      <dsp:nvSpPr>
        <dsp:cNvPr id="0" name=""/>
        <dsp:cNvSpPr/>
      </dsp:nvSpPr>
      <dsp:spPr>
        <a:xfrm>
          <a:off x="5373346" y="1109295"/>
          <a:ext cx="4883722" cy="29302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marL="0" lvl="0" indent="0" algn="l" defTabSz="1333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>
              <a:solidFill>
                <a:schemeClr val="bg1"/>
              </a:solidFill>
              <a:latin typeface="Calibri"/>
              <a:cs typeface="Calibri"/>
            </a:rPr>
            <a:t>All hospitals hold a Respectful Care Breakfast invite patients delivered at your hospital and clinical team members before Face-to-Face and plan quarterly or biannual </a:t>
          </a:r>
        </a:p>
      </dsp:txBody>
      <dsp:txXfrm>
        <a:off x="5373346" y="1109295"/>
        <a:ext cx="4883722" cy="293023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934895-D150-4E33-9DF9-05F4FF77A7AF}">
      <dsp:nvSpPr>
        <dsp:cNvPr id="0" name=""/>
        <dsp:cNvSpPr/>
      </dsp:nvSpPr>
      <dsp:spPr>
        <a:xfrm>
          <a:off x="1556143" y="231408"/>
          <a:ext cx="4335200" cy="1354750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7617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n>
                <a:noFill/>
              </a:ln>
              <a:solidFill>
                <a:schemeClr val="tx1">
                  <a:lumMod val="50000"/>
                </a:schemeClr>
              </a:solidFill>
            </a:rPr>
            <a:t>Optimize race/ethnicity data</a:t>
          </a:r>
          <a:r>
            <a:rPr lang="en-US" sz="2000" kern="1200" dirty="0">
              <a:ln>
                <a:noFill/>
              </a:ln>
              <a:solidFill>
                <a:schemeClr val="tx1">
                  <a:lumMod val="50000"/>
                </a:schemeClr>
              </a:solidFill>
            </a:rPr>
            <a:t> collection &amp; review key maternal quality data by race, ethnicity &amp; Medicaid status</a:t>
          </a:r>
        </a:p>
      </dsp:txBody>
      <dsp:txXfrm>
        <a:off x="1556143" y="231408"/>
        <a:ext cx="4335200" cy="1354750"/>
      </dsp:txXfrm>
    </dsp:sp>
    <dsp:sp modelId="{CC54DB42-0225-4905-A8D7-EBF99D64265A}">
      <dsp:nvSpPr>
        <dsp:cNvPr id="0" name=""/>
        <dsp:cNvSpPr/>
      </dsp:nvSpPr>
      <dsp:spPr>
        <a:xfrm>
          <a:off x="1386947" y="115737"/>
          <a:ext cx="948325" cy="1422487"/>
        </a:xfrm>
        <a:prstGeom prst="rect">
          <a:avLst/>
        </a:prstGeom>
        <a:blipFill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49AFCCF3-3DDD-486F-B69F-0293F48BA1AE}">
      <dsp:nvSpPr>
        <dsp:cNvPr id="0" name=""/>
        <dsp:cNvSpPr/>
      </dsp:nvSpPr>
      <dsp:spPr>
        <a:xfrm>
          <a:off x="6362954" y="231408"/>
          <a:ext cx="4335200" cy="1354750"/>
        </a:xfrm>
        <a:prstGeom prst="rect">
          <a:avLst/>
        </a:prstGeom>
        <a:solidFill>
          <a:schemeClr val="accent6">
            <a:lumMod val="40000"/>
            <a:lumOff val="60000"/>
            <a:alpha val="40000"/>
          </a:schemeClr>
        </a:solidFill>
        <a:ln w="3810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7617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tx1">
                  <a:lumMod val="50000"/>
                </a:schemeClr>
              </a:solidFill>
            </a:rPr>
            <a:t>Universal </a:t>
          </a:r>
          <a:r>
            <a:rPr lang="en-US" sz="1900" b="1" kern="1200" dirty="0">
              <a:solidFill>
                <a:schemeClr val="tx1">
                  <a:lumMod val="50000"/>
                </a:schemeClr>
              </a:solidFill>
            </a:rPr>
            <a:t>social determinants of health screening</a:t>
          </a:r>
          <a:r>
            <a:rPr lang="en-US" sz="1900" kern="1200" dirty="0">
              <a:solidFill>
                <a:schemeClr val="tx1">
                  <a:lumMod val="50000"/>
                </a:schemeClr>
              </a:solidFill>
            </a:rPr>
            <a:t> tool (prenatal/L&amp;D) with system for linkage to appropriate resources </a:t>
          </a:r>
        </a:p>
      </dsp:txBody>
      <dsp:txXfrm>
        <a:off x="6362954" y="231408"/>
        <a:ext cx="4335200" cy="1354750"/>
      </dsp:txXfrm>
    </dsp:sp>
    <dsp:sp modelId="{E836AFA5-6591-4E14-8210-FEC8BF8E79BF}">
      <dsp:nvSpPr>
        <dsp:cNvPr id="0" name=""/>
        <dsp:cNvSpPr/>
      </dsp:nvSpPr>
      <dsp:spPr>
        <a:xfrm>
          <a:off x="6079584" y="35722"/>
          <a:ext cx="1153798" cy="1422487"/>
        </a:xfrm>
        <a:prstGeom prst="rect">
          <a:avLst/>
        </a:prstGeom>
        <a:blipFill rotWithShape="1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E4F7C446-C5AF-419C-B1D8-F6A9C79DD675}">
      <dsp:nvSpPr>
        <dsp:cNvPr id="0" name=""/>
        <dsp:cNvSpPr/>
      </dsp:nvSpPr>
      <dsp:spPr>
        <a:xfrm>
          <a:off x="1529839" y="1936888"/>
          <a:ext cx="4335200" cy="1354750"/>
        </a:xfrm>
        <a:prstGeom prst="rect">
          <a:avLst/>
        </a:prstGeom>
        <a:solidFill>
          <a:schemeClr val="accent6">
            <a:lumMod val="40000"/>
            <a:lumOff val="60000"/>
            <a:alpha val="40000"/>
          </a:schemeClr>
        </a:solidFill>
        <a:ln w="3810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7617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tx1">
                  <a:lumMod val="50000"/>
                </a:schemeClr>
              </a:solidFill>
            </a:rPr>
            <a:t>Share </a:t>
          </a:r>
          <a:r>
            <a:rPr lang="en-US" sz="1900" b="1" kern="1200" dirty="0">
              <a:solidFill>
                <a:schemeClr val="tx1">
                  <a:lumMod val="50000"/>
                </a:schemeClr>
              </a:solidFill>
            </a:rPr>
            <a:t>respectful care practices </a:t>
          </a:r>
          <a:r>
            <a:rPr lang="en-US" sz="1900" kern="1200" dirty="0">
              <a:solidFill>
                <a:schemeClr val="tx1">
                  <a:lumMod val="50000"/>
                </a:schemeClr>
              </a:solidFill>
            </a:rPr>
            <a:t>on L&amp;D and survey patients before discharge on their care experience (using the PREM) for feedback</a:t>
          </a:r>
        </a:p>
      </dsp:txBody>
      <dsp:txXfrm>
        <a:off x="1529839" y="1936888"/>
        <a:ext cx="4335200" cy="1354750"/>
      </dsp:txXfrm>
    </dsp:sp>
    <dsp:sp modelId="{1AF332FF-D205-4E81-886F-B0DEEB2FEE24}">
      <dsp:nvSpPr>
        <dsp:cNvPr id="0" name=""/>
        <dsp:cNvSpPr/>
      </dsp:nvSpPr>
      <dsp:spPr>
        <a:xfrm>
          <a:off x="1349206" y="1741202"/>
          <a:ext cx="948325" cy="1422487"/>
        </a:xfrm>
        <a:prstGeom prst="rect">
          <a:avLst/>
        </a:prstGeom>
        <a:blipFill rotWithShape="1"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F77EB86-DC3A-4F49-9C1C-64F45674FB41}">
      <dsp:nvSpPr>
        <dsp:cNvPr id="0" name=""/>
        <dsp:cNvSpPr/>
      </dsp:nvSpPr>
      <dsp:spPr>
        <a:xfrm>
          <a:off x="6389258" y="1936888"/>
          <a:ext cx="4335200" cy="1354750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7617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tx1">
                  <a:lumMod val="50000"/>
                </a:schemeClr>
              </a:solidFill>
            </a:rPr>
            <a:t>Engage patients and community members </a:t>
          </a:r>
          <a:r>
            <a:rPr lang="en-US" sz="2000" kern="1200" dirty="0">
              <a:solidFill>
                <a:schemeClr val="tx1">
                  <a:lumMod val="50000"/>
                </a:schemeClr>
              </a:solidFill>
            </a:rPr>
            <a:t>for input on quality improvement efforts</a:t>
          </a:r>
        </a:p>
      </dsp:txBody>
      <dsp:txXfrm>
        <a:off x="6389258" y="1936888"/>
        <a:ext cx="4335200" cy="1354750"/>
      </dsp:txXfrm>
    </dsp:sp>
    <dsp:sp modelId="{BC0ECF19-7FFA-4B14-87B4-72F35EE1B4A9}">
      <dsp:nvSpPr>
        <dsp:cNvPr id="0" name=""/>
        <dsp:cNvSpPr/>
      </dsp:nvSpPr>
      <dsp:spPr>
        <a:xfrm>
          <a:off x="6053280" y="1741202"/>
          <a:ext cx="1259015" cy="1422487"/>
        </a:xfrm>
        <a:prstGeom prst="rect">
          <a:avLst/>
        </a:prstGeom>
        <a:blipFill rotWithShape="1">
          <a:blip xmlns:r="http://schemas.openxmlformats.org/officeDocument/2006/relationships"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70187994-DBE7-4A6A-B505-7DE43D8B5E24}">
      <dsp:nvSpPr>
        <dsp:cNvPr id="0" name=""/>
        <dsp:cNvSpPr/>
      </dsp:nvSpPr>
      <dsp:spPr>
        <a:xfrm>
          <a:off x="1607512" y="3642368"/>
          <a:ext cx="4335200" cy="1354750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7617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chemeClr val="tx1">
                  <a:lumMod val="50000"/>
                </a:schemeClr>
              </a:solidFill>
            </a:rPr>
            <a:t>Standardize postpartum safety </a:t>
          </a:r>
          <a:r>
            <a:rPr lang="en-US" sz="1900" kern="1200" dirty="0">
              <a:solidFill>
                <a:schemeClr val="tx1">
                  <a:lumMod val="50000"/>
                </a:schemeClr>
              </a:solidFill>
            </a:rPr>
            <a:t>education and schedule early postpartum follow up prior to hospital discharge</a:t>
          </a:r>
        </a:p>
      </dsp:txBody>
      <dsp:txXfrm>
        <a:off x="1607512" y="3642368"/>
        <a:ext cx="4335200" cy="1354750"/>
      </dsp:txXfrm>
    </dsp:sp>
    <dsp:sp modelId="{D00B39CB-6D1C-4FD9-83A3-2EDAA898AC44}">
      <dsp:nvSpPr>
        <dsp:cNvPr id="0" name=""/>
        <dsp:cNvSpPr/>
      </dsp:nvSpPr>
      <dsp:spPr>
        <a:xfrm>
          <a:off x="1381160" y="3469542"/>
          <a:ext cx="948325" cy="1422487"/>
        </a:xfrm>
        <a:prstGeom prst="rect">
          <a:avLst/>
        </a:prstGeom>
        <a:blipFill rotWithShape="1"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197AA65D-CC75-4AFD-8AF6-BE49EB492D3A}">
      <dsp:nvSpPr>
        <dsp:cNvPr id="0" name=""/>
        <dsp:cNvSpPr/>
      </dsp:nvSpPr>
      <dsp:spPr>
        <a:xfrm>
          <a:off x="6311586" y="3642368"/>
          <a:ext cx="4335200" cy="1354750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7617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tx1">
                  <a:lumMod val="50000"/>
                </a:schemeClr>
              </a:solidFill>
            </a:rPr>
            <a:t>Implicit Bias / Respectful Care training </a:t>
          </a:r>
          <a:r>
            <a:rPr lang="en-US" sz="2000" kern="1200" dirty="0">
              <a:solidFill>
                <a:schemeClr val="tx1">
                  <a:lumMod val="50000"/>
                </a:schemeClr>
              </a:solidFill>
            </a:rPr>
            <a:t>for providers, nurses and other staff</a:t>
          </a:r>
        </a:p>
      </dsp:txBody>
      <dsp:txXfrm>
        <a:off x="6311586" y="3642368"/>
        <a:ext cx="4335200" cy="1354750"/>
      </dsp:txXfrm>
    </dsp:sp>
    <dsp:sp modelId="{F76C5C29-CF17-47A8-9710-3F8111C8DB01}">
      <dsp:nvSpPr>
        <dsp:cNvPr id="0" name=""/>
        <dsp:cNvSpPr/>
      </dsp:nvSpPr>
      <dsp:spPr>
        <a:xfrm>
          <a:off x="6227767" y="3478959"/>
          <a:ext cx="948325" cy="1422487"/>
        </a:xfrm>
        <a:prstGeom prst="rect">
          <a:avLst/>
        </a:prstGeom>
        <a:blipFill rotWithShape="1">
          <a:blip xmlns:r="http://schemas.openxmlformats.org/officeDocument/2006/relationships"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16F5E3-210F-4D9A-9D84-A0904B2A01C7}">
      <dsp:nvSpPr>
        <dsp:cNvPr id="0" name=""/>
        <dsp:cNvSpPr/>
      </dsp:nvSpPr>
      <dsp:spPr>
        <a:xfrm>
          <a:off x="3488" y="1506586"/>
          <a:ext cx="3500343" cy="3500343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2636" tIns="20320" rIns="192636" bIns="20320" numCol="1" spcCol="1270" anchor="ctr" anchorCtr="1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u="sng" kern="1200" dirty="0">
              <a:latin typeface="Calibri" panose="020F0502020204030204"/>
            </a:rPr>
            <a:t> Gather your planning group</a:t>
          </a:r>
          <a:endParaRPr lang="en-US" sz="1600" b="1" u="sng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Calibri" panose="020F0502020204030204"/>
            </a:rPr>
            <a:t>Unit leadership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Calibri" panose="020F0502020204030204"/>
            </a:rPr>
            <a:t>Educator</a:t>
          </a:r>
          <a:endParaRPr lang="en-US" sz="1200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Calibri" panose="020F0502020204030204"/>
            </a:rPr>
            <a:t>Provider and RN Champion</a:t>
          </a: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Calibri" panose="020F0502020204030204"/>
            </a:rPr>
            <a:t>Social work</a:t>
          </a: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Calibri" panose="020F0502020204030204"/>
            </a:rPr>
            <a:t>(YOUR BE TEAM!)</a:t>
          </a:r>
        </a:p>
      </dsp:txBody>
      <dsp:txXfrm>
        <a:off x="516101" y="2019199"/>
        <a:ext cx="2475117" cy="2475117"/>
      </dsp:txXfrm>
    </dsp:sp>
    <dsp:sp modelId="{1190B134-FC49-4FA7-A077-E37CE66721D9}">
      <dsp:nvSpPr>
        <dsp:cNvPr id="0" name=""/>
        <dsp:cNvSpPr/>
      </dsp:nvSpPr>
      <dsp:spPr>
        <a:xfrm>
          <a:off x="2803763" y="1506586"/>
          <a:ext cx="3500343" cy="3500343"/>
        </a:xfrm>
        <a:prstGeom prst="ellipse">
          <a:avLst/>
        </a:prstGeom>
        <a:solidFill>
          <a:schemeClr val="accent3">
            <a:alpha val="50000"/>
            <a:hueOff val="774957"/>
            <a:satOff val="3567"/>
            <a:lumOff val="-601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2636" tIns="20320" rIns="192636" bIns="20320" numCol="1" spcCol="1270" anchor="ctr" anchorCtr="1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u="sng" kern="1200" dirty="0">
              <a:latin typeface="Calibri" panose="020F0502020204030204"/>
            </a:rPr>
            <a:t> Set</a:t>
          </a:r>
          <a:r>
            <a:rPr lang="en-US" sz="1600" b="1" u="sng" kern="1200" dirty="0">
              <a:solidFill>
                <a:schemeClr val="tx1"/>
              </a:solidFill>
              <a:latin typeface="Calibri" panose="020F0502020204030204"/>
            </a:rPr>
            <a:t> the Date </a:t>
          </a: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>
              <a:solidFill>
                <a:schemeClr val="tx1"/>
              </a:solidFill>
              <a:latin typeface="Calibri" panose="020F0502020204030204"/>
            </a:rPr>
            <a:t> June, July, and August- Summer focus</a:t>
          </a:r>
          <a:endParaRPr lang="en-US" sz="1200" b="0" kern="1200" dirty="0">
            <a:solidFill>
              <a:schemeClr val="tx1"/>
            </a:solidFill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b="0" kern="1200" dirty="0">
              <a:latin typeface="Calibri" panose="020F0502020204030204"/>
            </a:rPr>
            <a:t> </a:t>
          </a:r>
          <a:r>
            <a:rPr lang="en-US" sz="1200" b="0" kern="1200" dirty="0"/>
            <a:t>Consider using a Grand Rounds time slot</a:t>
          </a:r>
        </a:p>
      </dsp:txBody>
      <dsp:txXfrm>
        <a:off x="3316376" y="2019199"/>
        <a:ext cx="2475117" cy="2475117"/>
      </dsp:txXfrm>
    </dsp:sp>
    <dsp:sp modelId="{A35AFF8D-434F-45AE-B678-42454849FFC5}">
      <dsp:nvSpPr>
        <dsp:cNvPr id="0" name=""/>
        <dsp:cNvSpPr/>
      </dsp:nvSpPr>
      <dsp:spPr>
        <a:xfrm>
          <a:off x="5604039" y="1506586"/>
          <a:ext cx="3500343" cy="3500343"/>
        </a:xfrm>
        <a:prstGeom prst="ellipse">
          <a:avLst/>
        </a:prstGeom>
        <a:solidFill>
          <a:schemeClr val="accent3">
            <a:alpha val="50000"/>
            <a:hueOff val="1549914"/>
            <a:satOff val="7134"/>
            <a:lumOff val="-1202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2636" tIns="20320" rIns="192636" bIns="20320" numCol="1" spcCol="1270" anchor="ctr" anchorCtr="1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u="sng" kern="1200" dirty="0">
              <a:latin typeface="Calibri" panose="020F0502020204030204"/>
            </a:rPr>
            <a:t> Connect/ Invite Patients </a:t>
          </a: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Calibri" panose="020F0502020204030204"/>
            </a:rPr>
            <a:t>PP Leader Rounds</a:t>
          </a:r>
          <a:endParaRPr lang="en-US" sz="1200" kern="1200" dirty="0"/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Calibri" panose="020F0502020204030204"/>
            </a:rPr>
            <a:t>Ask OB offices / clinics / midwives/ doulas / lactation counselors / social workers: to each invite 2-3  postpartum pts, invite NICU moms.</a:t>
          </a: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Calibri" panose="020F0502020204030204"/>
            </a:rPr>
            <a:t>Community Outreach (invite doulas, community health worker, home visit program, community health clinic etc.)</a:t>
          </a:r>
        </a:p>
      </dsp:txBody>
      <dsp:txXfrm>
        <a:off x="6116652" y="2019199"/>
        <a:ext cx="2475117" cy="2475117"/>
      </dsp:txXfrm>
    </dsp:sp>
    <dsp:sp modelId="{23C263ED-262F-4056-B1CE-A1FFB48795DC}">
      <dsp:nvSpPr>
        <dsp:cNvPr id="0" name=""/>
        <dsp:cNvSpPr/>
      </dsp:nvSpPr>
      <dsp:spPr>
        <a:xfrm>
          <a:off x="8404314" y="1506586"/>
          <a:ext cx="3500343" cy="3500343"/>
        </a:xfrm>
        <a:prstGeom prst="ellipse">
          <a:avLst/>
        </a:prstGeom>
        <a:solidFill>
          <a:schemeClr val="accent3">
            <a:alpha val="50000"/>
            <a:hueOff val="2324871"/>
            <a:satOff val="10701"/>
            <a:lumOff val="-1803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92636" tIns="20320" rIns="192636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latin typeface="Calibri" panose="020F0502020204030204"/>
            </a:rPr>
            <a:t> Celebration of Respectful Care and Patient Voices Breakfast with clinical team members and patients! </a:t>
          </a:r>
          <a:endParaRPr lang="en-US" sz="1600" b="0" kern="1200" dirty="0">
            <a:latin typeface="Calibri" panose="020F0502020204030204"/>
          </a:endParaRPr>
        </a:p>
      </dsp:txBody>
      <dsp:txXfrm>
        <a:off x="8916927" y="2019199"/>
        <a:ext cx="2475117" cy="247511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B75F9C-50FE-4FCB-89A5-E9B5AE2DE8FE}">
      <dsp:nvSpPr>
        <dsp:cNvPr id="0" name=""/>
        <dsp:cNvSpPr/>
      </dsp:nvSpPr>
      <dsp:spPr>
        <a:xfrm>
          <a:off x="0" y="689"/>
          <a:ext cx="679767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B3D43C-53F9-46CC-A729-AA99DF6436EB}">
      <dsp:nvSpPr>
        <dsp:cNvPr id="0" name=""/>
        <dsp:cNvSpPr/>
      </dsp:nvSpPr>
      <dsp:spPr>
        <a:xfrm>
          <a:off x="0" y="689"/>
          <a:ext cx="6797675" cy="806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Federal and state funded in-home, in-person Home Visiting programs for at-risk Mom’s, babies</a:t>
          </a:r>
        </a:p>
      </dsp:txBody>
      <dsp:txXfrm>
        <a:off x="0" y="689"/>
        <a:ext cx="6797675" cy="806933"/>
      </dsp:txXfrm>
    </dsp:sp>
    <dsp:sp modelId="{298DC184-8CD5-40D4-93E1-D839FFD2B944}">
      <dsp:nvSpPr>
        <dsp:cNvPr id="0" name=""/>
        <dsp:cNvSpPr/>
      </dsp:nvSpPr>
      <dsp:spPr>
        <a:xfrm>
          <a:off x="0" y="807622"/>
          <a:ext cx="679767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9D8A330-28EC-4305-A94B-BACB2832A8C1}">
      <dsp:nvSpPr>
        <dsp:cNvPr id="0" name=""/>
        <dsp:cNvSpPr/>
      </dsp:nvSpPr>
      <dsp:spPr>
        <a:xfrm>
          <a:off x="0" y="807622"/>
          <a:ext cx="6797675" cy="806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Program Goals:</a:t>
          </a:r>
        </a:p>
      </dsp:txBody>
      <dsp:txXfrm>
        <a:off x="0" y="807622"/>
        <a:ext cx="6797675" cy="806933"/>
      </dsp:txXfrm>
    </dsp:sp>
    <dsp:sp modelId="{3EEAF605-1302-451D-B20B-A93E266B62DC}">
      <dsp:nvSpPr>
        <dsp:cNvPr id="0" name=""/>
        <dsp:cNvSpPr/>
      </dsp:nvSpPr>
      <dsp:spPr>
        <a:xfrm>
          <a:off x="0" y="1614556"/>
          <a:ext cx="679767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B6B6EA-D3EE-4709-B15D-8A04423A038F}">
      <dsp:nvSpPr>
        <dsp:cNvPr id="0" name=""/>
        <dsp:cNvSpPr/>
      </dsp:nvSpPr>
      <dsp:spPr>
        <a:xfrm>
          <a:off x="0" y="1614556"/>
          <a:ext cx="6797675" cy="806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1.  Improvement in health and well-being of Mom’s and their baby</a:t>
          </a:r>
        </a:p>
      </dsp:txBody>
      <dsp:txXfrm>
        <a:off x="0" y="1614556"/>
        <a:ext cx="6797675" cy="806933"/>
      </dsp:txXfrm>
    </dsp:sp>
    <dsp:sp modelId="{895757A7-943C-4CEC-885D-2FF047D70AA7}">
      <dsp:nvSpPr>
        <dsp:cNvPr id="0" name=""/>
        <dsp:cNvSpPr/>
      </dsp:nvSpPr>
      <dsp:spPr>
        <a:xfrm>
          <a:off x="0" y="2421489"/>
          <a:ext cx="679767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BDEA89-56A7-4B64-BC8D-9110C57E7ACA}">
      <dsp:nvSpPr>
        <dsp:cNvPr id="0" name=""/>
        <dsp:cNvSpPr/>
      </dsp:nvSpPr>
      <dsp:spPr>
        <a:xfrm>
          <a:off x="0" y="2421489"/>
          <a:ext cx="6797675" cy="806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2. Provide education on topics related to health and well-being of Mom’s and baby</a:t>
          </a:r>
        </a:p>
      </dsp:txBody>
      <dsp:txXfrm>
        <a:off x="0" y="2421489"/>
        <a:ext cx="6797675" cy="806933"/>
      </dsp:txXfrm>
    </dsp:sp>
    <dsp:sp modelId="{F31F4FAC-020B-4EBC-AAFB-BE66D935409B}">
      <dsp:nvSpPr>
        <dsp:cNvPr id="0" name=""/>
        <dsp:cNvSpPr/>
      </dsp:nvSpPr>
      <dsp:spPr>
        <a:xfrm>
          <a:off x="0" y="3228422"/>
          <a:ext cx="679767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6EE131-0DB9-477C-9303-06F633257426}">
      <dsp:nvSpPr>
        <dsp:cNvPr id="0" name=""/>
        <dsp:cNvSpPr/>
      </dsp:nvSpPr>
      <dsp:spPr>
        <a:xfrm>
          <a:off x="0" y="3228422"/>
          <a:ext cx="6797675" cy="806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3. Referrals to community supports</a:t>
          </a:r>
        </a:p>
      </dsp:txBody>
      <dsp:txXfrm>
        <a:off x="0" y="3228422"/>
        <a:ext cx="6797675" cy="806933"/>
      </dsp:txXfrm>
    </dsp:sp>
    <dsp:sp modelId="{0A7BFD2F-B979-488D-9E4A-7D3578F71877}">
      <dsp:nvSpPr>
        <dsp:cNvPr id="0" name=""/>
        <dsp:cNvSpPr/>
      </dsp:nvSpPr>
      <dsp:spPr>
        <a:xfrm>
          <a:off x="0" y="4035355"/>
          <a:ext cx="679767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A07B0C-A48D-47E4-911A-7FF39CE8DB3B}">
      <dsp:nvSpPr>
        <dsp:cNvPr id="0" name=""/>
        <dsp:cNvSpPr/>
      </dsp:nvSpPr>
      <dsp:spPr>
        <a:xfrm>
          <a:off x="0" y="4035355"/>
          <a:ext cx="6797675" cy="806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4. Address Social Determinant’s of Health</a:t>
          </a:r>
        </a:p>
      </dsp:txBody>
      <dsp:txXfrm>
        <a:off x="0" y="4035355"/>
        <a:ext cx="6797675" cy="806933"/>
      </dsp:txXfrm>
    </dsp:sp>
    <dsp:sp modelId="{86ADB949-359D-4AD8-809D-1B48C490340B}">
      <dsp:nvSpPr>
        <dsp:cNvPr id="0" name=""/>
        <dsp:cNvSpPr/>
      </dsp:nvSpPr>
      <dsp:spPr>
        <a:xfrm>
          <a:off x="0" y="4842289"/>
          <a:ext cx="679767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1812B0-9B9A-47B5-947A-45B62A19C0AA}">
      <dsp:nvSpPr>
        <dsp:cNvPr id="0" name=""/>
        <dsp:cNvSpPr/>
      </dsp:nvSpPr>
      <dsp:spPr>
        <a:xfrm>
          <a:off x="0" y="4842289"/>
          <a:ext cx="6797675" cy="8069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5. Support and empowerment</a:t>
          </a:r>
        </a:p>
      </dsp:txBody>
      <dsp:txXfrm>
        <a:off x="0" y="4842289"/>
        <a:ext cx="6797675" cy="8069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1591</cdr:x>
      <cdr:y>0.54128</cdr:y>
    </cdr:from>
    <cdr:to>
      <cdr:x>0.47896</cdr:x>
      <cdr:y>0.64478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B9D874CA-C7EF-EE08-AE4C-BE044219F09F}"/>
            </a:ext>
          </a:extLst>
        </cdr:cNvPr>
        <cdr:cNvSpPr txBox="1"/>
      </cdr:nvSpPr>
      <cdr:spPr>
        <a:xfrm xmlns:a="http://schemas.openxmlformats.org/drawingml/2006/main">
          <a:off x="2300728" y="2748249"/>
          <a:ext cx="348792" cy="52554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800" dirty="0"/>
            <a:t>32</a:t>
          </a:r>
        </a:p>
      </cdr:txBody>
    </cdr:sp>
  </cdr:relSizeAnchor>
  <cdr:relSizeAnchor xmlns:cdr="http://schemas.openxmlformats.org/drawingml/2006/chartDrawing">
    <cdr:from>
      <cdr:x>0.57993</cdr:x>
      <cdr:y>0.55556</cdr:y>
    </cdr:from>
    <cdr:to>
      <cdr:x>0.65662</cdr:x>
      <cdr:y>0.64873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208D8D5F-789C-A735-F58B-E554F02CC963}"/>
            </a:ext>
          </a:extLst>
        </cdr:cNvPr>
        <cdr:cNvSpPr txBox="1"/>
      </cdr:nvSpPr>
      <cdr:spPr>
        <a:xfrm xmlns:a="http://schemas.openxmlformats.org/drawingml/2006/main">
          <a:off x="3208059" y="2820800"/>
          <a:ext cx="424206" cy="47302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800" dirty="0"/>
            <a:t>29</a:t>
          </a:r>
        </a:p>
      </cdr:txBody>
    </cdr:sp>
  </cdr:relSizeAnchor>
  <cdr:relSizeAnchor xmlns:cdr="http://schemas.openxmlformats.org/drawingml/2006/chartDrawing">
    <cdr:from>
      <cdr:x>0.73416</cdr:x>
      <cdr:y>0.37657</cdr:y>
    </cdr:from>
    <cdr:to>
      <cdr:x>0.89946</cdr:x>
      <cdr:y>0.55666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ABB89CED-CAEA-BB5A-0C4C-74C897F01FEA}"/>
            </a:ext>
          </a:extLst>
        </cdr:cNvPr>
        <cdr:cNvSpPr txBox="1"/>
      </cdr:nvSpPr>
      <cdr:spPr>
        <a:xfrm xmlns:a="http://schemas.openxmlformats.org/drawingml/2006/main">
          <a:off x="4061186" y="1911955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800" dirty="0"/>
            <a:t>50</a:t>
          </a:r>
        </a:p>
      </cdr:txBody>
    </cdr:sp>
  </cdr:relSizeAnchor>
  <cdr:relSizeAnchor xmlns:cdr="http://schemas.openxmlformats.org/drawingml/2006/chartDrawing">
    <cdr:from>
      <cdr:x>0.8773</cdr:x>
      <cdr:y>0.06498</cdr:y>
    </cdr:from>
    <cdr:to>
      <cdr:x>0.97444</cdr:x>
      <cdr:y>0.13925</cdr:y>
    </cdr:to>
    <cdr:sp macro="" textlink="">
      <cdr:nvSpPr>
        <cdr:cNvPr id="5" name="TextBox 4">
          <a:extLst xmlns:a="http://schemas.openxmlformats.org/drawingml/2006/main">
            <a:ext uri="{FF2B5EF4-FFF2-40B4-BE49-F238E27FC236}">
              <a16:creationId xmlns:a16="http://schemas.microsoft.com/office/drawing/2014/main" id="{E2F87883-32F5-7D4B-E3EA-F4705D4627A6}"/>
            </a:ext>
          </a:extLst>
        </cdr:cNvPr>
        <cdr:cNvSpPr txBox="1"/>
      </cdr:nvSpPr>
      <cdr:spPr>
        <a:xfrm xmlns:a="http://schemas.openxmlformats.org/drawingml/2006/main">
          <a:off x="4853041" y="329940"/>
          <a:ext cx="537329" cy="3770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800" dirty="0"/>
            <a:t>84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27" name="Google Shape;1192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28" name="Google Shape;11928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929" name="Google Shape;11929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75" name="Google Shape;12675;p118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676" name="Google Shape;12676;p1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1" name="Google Shape;12681;p3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682" name="Google Shape;12682;p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7" name="Google Shape;12687;p119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688" name="Google Shape;12688;p11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6EA84B-CF85-4E53-84D7-E104F809F889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2815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4" name="Google Shape;12694;p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695" name="Google Shape;12695;p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00" name="Google Shape;12700;p11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01" name="Google Shape;12701;p119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New language on sustaining birth equity work – requiring SMM data and NTSV data, patient/community engagement </a:t>
            </a:r>
            <a:endParaRPr/>
          </a:p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Infrastructure in place to continue equity work – things in place to actively do work together </a:t>
            </a:r>
            <a:endParaRPr/>
          </a:p>
        </p:txBody>
      </p:sp>
      <p:sp>
        <p:nvSpPr>
          <p:cNvPr id="12702" name="Google Shape;12702;p119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1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10" name="Google Shape;12710;p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11" name="Google Shape;12711;p4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712" name="Google Shape;12712;p4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43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0" name="Google Shape;12720;p11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21" name="Google Shape;12721;p119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722" name="Google Shape;12722;p119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45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35" name="Google Shape;1193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36" name="Google Shape;11936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937" name="Google Shape;11937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62" name="Google Shape;11962;p113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963" name="Google Shape;11963;p1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5" name="Google Shape;1208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086" name="Google Shape;12086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71725" y="538163"/>
            <a:ext cx="4787900" cy="2692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Optimize race/ethnicity data collection and review key maternal quality data by race, ethnicity and Medicaid status</a:t>
            </a:r>
          </a:p>
          <a:p>
            <a:r>
              <a:rPr lang="en-US" dirty="0"/>
              <a:t>Universal social determinants of health screening tool (prenatal/L&amp;D) with system for linkage to appropriate resources </a:t>
            </a:r>
          </a:p>
          <a:p>
            <a:r>
              <a:rPr lang="en-US" dirty="0"/>
              <a:t>Share respectful care practices on L&amp;D and survey patients before discharge on their care experience (using the PREM tool) for feedback</a:t>
            </a:r>
          </a:p>
          <a:p>
            <a:r>
              <a:rPr lang="en-US" dirty="0"/>
              <a:t>Engage patients and community members for input on quality improvement efforts</a:t>
            </a:r>
          </a:p>
          <a:p>
            <a:r>
              <a:rPr lang="en-US" dirty="0"/>
              <a:t>Standardize postpartum safety education and schedule early postpartum follow up prior to hospital discharge</a:t>
            </a:r>
          </a:p>
          <a:p>
            <a:r>
              <a:rPr lang="en-US" dirty="0"/>
              <a:t>Implicit Bias / Respectful Care training for providers, nurses and other staff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9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BC8628B-D017-4ABD-84D4-3F37B064EA7E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rPr>
              <a:pPr marL="0" marR="0" lvl="0" indent="0" algn="r" defTabSz="939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2366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68" name="Google Shape;12168;p114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69" name="Google Shape;12169;p11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76" name="Google Shape;12176;p11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177" name="Google Shape;12177;p11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178" name="Google Shape;12178;p11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04" name="Google Shape;12204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205" name="Google Shape;12205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12206" name="Google Shape;12206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en-US"/>
              <a:t>14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65" name="Google Shape;12265;p114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266" name="Google Shape;12266;p11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0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0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0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0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0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0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0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0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0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0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0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0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0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0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0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0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0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0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0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0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0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0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0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0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0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0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0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0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0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0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0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0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0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0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0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0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0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0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0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0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10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0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0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0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0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10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0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0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10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10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10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10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10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10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0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1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1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1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1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1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1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4.xml"/></Relationships>
</file>

<file path=ppt/slideLayouts/_rels/slideLayout1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4.xml"/></Relationships>
</file>

<file path=ppt/slideLayouts/_rels/slideLayout1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1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1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/Relationships>
</file>

<file path=ppt/slideLayouts/_rels/slideLayout1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1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/Relationships>
</file>

<file path=ppt/slideLayouts/_rels/slideLayout1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1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1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1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1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4.xml"/></Relationships>
</file>

<file path=ppt/slideLayouts/_rels/slideLayout1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4.xml"/></Relationships>
</file>

<file path=ppt/slideLayouts/_rels/slideLayout1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4.xml"/></Relationships>
</file>

<file path=ppt/slideLayouts/_rels/slideLayout1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1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4.xml"/></Relationships>
</file>

<file path=ppt/slideLayouts/_rels/slideLayout1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6.xml"/></Relationships>
</file>

<file path=ppt/slideLayouts/_rels/slideLayout1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6.xml"/></Relationships>
</file>

<file path=ppt/slideLayouts/_rels/slideLayout1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6.xml"/></Relationships>
</file>

<file path=ppt/slideLayouts/_rels/slideLayout1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6.xml"/></Relationships>
</file>

<file path=ppt/slideLayouts/_rels/slideLayout1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6.xml"/></Relationships>
</file>

<file path=ppt/slideLayouts/_rels/slideLayout1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6.xml"/></Relationships>
</file>

<file path=ppt/slideLayouts/_rels/slideLayout1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6.xml"/></Relationships>
</file>

<file path=ppt/slideLayouts/_rels/slideLayout1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6.xml"/></Relationships>
</file>

<file path=ppt/slideLayouts/_rels/slideLayout1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6.xml"/></Relationships>
</file>

<file path=ppt/slideLayouts/_rels/slideLayout1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6.xml"/></Relationships>
</file>

<file path=ppt/slideLayouts/_rels/slideLayout1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6.xml"/></Relationships>
</file>

<file path=ppt/slideLayouts/_rels/slideLayout1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6.xml"/></Relationships>
</file>

<file path=ppt/slideLayouts/_rels/slideLayout1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6.xml"/></Relationships>
</file>

<file path=ppt/slideLayouts/_rels/slideLayout1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6.xml"/></Relationships>
</file>

<file path=ppt/slideLayouts/_rels/slideLayout1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6.xml"/></Relationships>
</file>

<file path=ppt/slideLayouts/_rels/slideLayout1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6.xml"/></Relationships>
</file>

<file path=ppt/slideLayouts/_rels/slideLayout1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.xml"/></Relationships>
</file>

<file path=ppt/slideLayouts/_rels/slideLayout1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.xml"/></Relationships>
</file>

<file path=ppt/slideLayouts/_rels/slideLayout1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3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.xml"/><Relationship Id="rId6" Type="http://schemas.openxmlformats.org/officeDocument/2006/relationships/image" Target="../media/image83.emf"/><Relationship Id="rId5" Type="http://schemas.openxmlformats.org/officeDocument/2006/relationships/image" Target="../media/image82.emf"/><Relationship Id="rId4" Type="http://schemas.openxmlformats.org/officeDocument/2006/relationships/image" Target="../media/image81.emf"/></Relationships>
</file>

<file path=ppt/slideLayouts/_rels/slideLayout13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7.jp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81.emf"/><Relationship Id="rId4" Type="http://schemas.openxmlformats.org/officeDocument/2006/relationships/oleObject" Target="../embeddings/oleObject2.bin"/></Relationships>
</file>

<file path=ppt/slideLayouts/_rels/slideLayout1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6.xml"/></Relationships>
</file>

<file path=ppt/slideLayouts/_rels/slideLayout1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6.xml"/></Relationships>
</file>

<file path=ppt/slideLayouts/_rels/slideLayout1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6.xml"/></Relationships>
</file>

<file path=ppt/slideLayouts/_rels/slideLayout13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.xml"/><Relationship Id="rId6" Type="http://schemas.openxmlformats.org/officeDocument/2006/relationships/image" Target="../media/image83.emf"/><Relationship Id="rId5" Type="http://schemas.openxmlformats.org/officeDocument/2006/relationships/image" Target="../media/image82.emf"/><Relationship Id="rId4" Type="http://schemas.openxmlformats.org/officeDocument/2006/relationships/image" Target="../media/image81.emf"/></Relationships>
</file>

<file path=ppt/slideLayouts/_rels/slideLayout13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85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81.emf"/><Relationship Id="rId4" Type="http://schemas.openxmlformats.org/officeDocument/2006/relationships/oleObject" Target="../embeddings/oleObject5.bin"/></Relationships>
</file>

<file path=ppt/slideLayouts/_rels/slideLayout1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6.xml"/></Relationships>
</file>

<file path=ppt/slideLayouts/_rels/slideLayout1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6.xml"/></Relationships>
</file>

<file path=ppt/slideLayouts/_rels/slideLayout1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6.xml"/></Relationships>
</file>

<file path=ppt/slideLayouts/_rels/slideLayout1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6.xml"/></Relationships>
</file>

<file path=ppt/slideLayouts/_rels/slideLayout1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1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1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6.xml"/></Relationships>
</file>

<file path=ppt/slideLayouts/_rels/slideLayout1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6.xml"/></Relationships>
</file>

<file path=ppt/slideLayouts/_rels/slideLayout1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6.xml"/></Relationships>
</file>

<file path=ppt/slideLayouts/_rels/slideLayout1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6.xml"/></Relationships>
</file>

<file path=ppt/slideLayouts/_rels/slideLayout1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6.xml"/></Relationships>
</file>

<file path=ppt/slideLayouts/_rels/slideLayout1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6.xml"/></Relationships>
</file>

<file path=ppt/slideLayouts/_rels/slideLayout1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6.xml"/></Relationships>
</file>

<file path=ppt/slideLayouts/_rels/slideLayout1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6.xml"/></Relationships>
</file>

<file path=ppt/slideLayouts/_rels/slideLayout1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6.xml"/></Relationships>
</file>

<file path=ppt/slideLayouts/_rels/slideLayout1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6.xml"/></Relationships>
</file>

<file path=ppt/slideLayouts/_rels/slideLayout1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6.xml"/></Relationships>
</file>

<file path=ppt/slideLayouts/_rels/slideLayout1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6.xml"/></Relationships>
</file>

<file path=ppt/slideLayouts/_rels/slideLayout1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6.xml"/></Relationships>
</file>

<file path=ppt/slideLayouts/_rels/slideLayout1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6.xml"/></Relationships>
</file>

<file path=ppt/slideLayouts/_rels/slideLayout1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6.xml"/></Relationships>
</file>

<file path=ppt/slideLayouts/_rels/slideLayout1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6.xml"/></Relationships>
</file>

<file path=ppt/slideLayouts/_rels/slideLayout1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.xml"/></Relationships>
</file>

<file path=ppt/slideLayouts/_rels/slideLayout1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4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6.jp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81.emf"/><Relationship Id="rId4" Type="http://schemas.openxmlformats.org/officeDocument/2006/relationships/oleObject" Target="../embeddings/oleObject7.bin"/></Relationships>
</file>

<file path=ppt/slideLayouts/_rels/slideLayout1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1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1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1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1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1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1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6.xml"/></Relationships>
</file>

<file path=ppt/slideLayouts/_rels/slideLayout1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6.xml"/></Relationships>
</file>

<file path=ppt/slideLayouts/_rels/slideLayout1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6.xml"/></Relationships>
</file>

<file path=ppt/slideLayouts/_rels/slideLayout1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1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1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1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1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1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6.xml"/></Relationships>
</file>

<file path=ppt/slideLayouts/_rels/slideLayout1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1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1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1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6.xml"/></Relationships>
</file>

<file path=ppt/slideLayouts/_rels/slideLayout1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6.xml"/></Relationships>
</file>

<file path=ppt/slideLayouts/_rels/slideLayout1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6.xml"/></Relationships>
</file>

<file path=ppt/slideLayouts/_rels/slideLayout1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6.xml"/></Relationships>
</file>

<file path=ppt/slideLayouts/_rels/slideLayout1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Master" Target="../slideMasters/slideMaster6.xml"/></Relationships>
</file>

<file path=ppt/slideLayouts/_rels/slideLayout1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Master" Target="../slideMasters/slideMaster6.xml"/></Relationships>
</file>

<file path=ppt/slideLayouts/_rels/slideLayout1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Master" Target="../slideMasters/slideMaster6.xml"/></Relationships>
</file>

<file path=ppt/slideLayouts/_rels/slideLayout1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Master" Target="../slideMasters/slideMaster6.xml"/></Relationships>
</file>

<file path=ppt/slideLayouts/_rels/slideLayout1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6.xml"/></Relationships>
</file>

<file path=ppt/slideLayouts/_rels/slideLayout1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6.xml"/></Relationships>
</file>

<file path=ppt/slideLayouts/_rels/slideLayout1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4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4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6.xml"/></Relationships>
</file>

<file path=ppt/slideLayouts/_rels/slideLayout1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6.xml"/></Relationships>
</file>

<file path=ppt/slideLayouts/_rels/slideLayout14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6.xml"/></Relationships>
</file>

<file path=ppt/slideLayouts/_rels/slideLayout1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/Relationships>
</file>

<file path=ppt/slideLayouts/_rels/slideLayout1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6.xml"/></Relationships>
</file>

<file path=ppt/slideLayouts/_rels/slideLayout14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6.xml"/></Relationships>
</file>

<file path=ppt/slideLayouts/_rels/slideLayout1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/Relationships>
</file>

<file path=ppt/slideLayouts/_rels/slideLayout14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4.svg"/></Relationships>
</file>

<file path=ppt/slideLayouts/_rels/slideLayout1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4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7.xml"/></Relationships>
</file>

<file path=ppt/slideLayouts/_rels/slideLayout1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7.xml"/></Relationships>
</file>

<file path=ppt/slideLayouts/_rels/slideLayout1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7.xml"/></Relationships>
</file>

<file path=ppt/slideLayouts/_rels/slideLayout1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6.svg"/></Relationships>
</file>

<file path=ppt/slideLayouts/_rels/slideLayout1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7.xml"/></Relationships>
</file>

<file path=ppt/slideLayouts/_rels/slideLayout1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7.xml"/></Relationships>
</file>

<file path=ppt/slideLayouts/_rels/slideLayout1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7.xml"/></Relationships>
</file>

<file path=ppt/slideLayouts/_rels/slideLayout1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7.xml"/></Relationships>
</file>

<file path=ppt/slideLayouts/_rels/slideLayout1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7.xml"/></Relationships>
</file>

<file path=ppt/slideLayouts/_rels/slideLayout1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jpeg"/><Relationship Id="rId1" Type="http://schemas.openxmlformats.org/officeDocument/2006/relationships/slideMaster" Target="../slideMasters/slideMaster9.xml"/></Relationships>
</file>

<file path=ppt/slideLayouts/_rels/slideLayout1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Master" Target="../slideMasters/slideMaster9.xml"/></Relationships>
</file>

<file path=ppt/slideLayouts/_rels/slideLayout1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2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7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3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3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7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3.xml"/></Relationships>
</file>

<file path=ppt/slideLayouts/_rels/slideLayout8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8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8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3.xml"/></Relationships>
</file>

<file path=ppt/slideLayouts/_rels/slideLayout8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3.xml"/></Relationships>
</file>

<file path=ppt/slideLayouts/_rels/slideLayout8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8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3.xml"/></Relationships>
</file>

<file path=ppt/slideLayouts/_rels/slideLayout8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3.xml"/></Relationships>
</file>

<file path=ppt/slideLayouts/_rels/slideLayout8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3.xml"/></Relationships>
</file>

<file path=ppt/slideLayouts/_rels/slideLayout8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8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8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8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8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3.xml"/></Relationships>
</file>

<file path=ppt/slideLayouts/_rels/slideLayout8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8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3.xml"/></Relationships>
</file>

<file path=ppt/slideLayouts/_rels/slideLayout8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3.xml"/></Relationships>
</file>

<file path=ppt/slideLayouts/_rels/slideLayout8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3.xml"/></Relationships>
</file>

<file path=ppt/slideLayouts/_rels/slideLayout8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3.xml"/></Relationships>
</file>

<file path=ppt/slideLayouts/_rels/slideLayout8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/Relationships>
</file>

<file path=ppt/slideLayouts/_rels/slideLayout8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9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9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9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9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9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9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9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9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9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4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4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4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4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9" name="Google Shape;19;p4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" name="Google Shape;20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4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" name="Google Shape;22;p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" name="Google Shape;112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" name="Google Shape;113;p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" name="Google Shape;114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" name="Google Shape;115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" name="Google Shape;117;p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6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" name="Google Shape;120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" name="Google Shape;121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1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6" name="Google Shape;1056;p15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57" name="Google Shape;1057;p15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8" name="Google Shape;1058;p15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59" name="Google Shape;1059;p15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0" name="Google Shape;1060;p15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1" name="Google Shape;1061;p15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62" name="Google Shape;1062;p1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63" name="Google Shape;1063;p15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10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47" name="Google Shape;10347;p13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348" name="Google Shape;10348;p13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49" name="Google Shape;10349;p13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50" name="Google Shape;10350;p13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351" name="Google Shape;10351;p13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352" name="Google Shape;10352;p13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53" name="Google Shape;10353;p13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10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5" name="Google Shape;10355;p136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356" name="Google Shape;10356;p136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357" name="Google Shape;10357;p136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358" name="Google Shape;10358;p136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59" name="Google Shape;10359;p136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60" name="Google Shape;10360;p136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361" name="Google Shape;10361;p13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10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3" name="Google Shape;10363;p13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4" name="Google Shape;10364;p13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65" name="Google Shape;10365;p13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66" name="Google Shape;10366;p13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67" name="Google Shape;10367;p13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68" name="Google Shape;10368;p13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69" name="Google Shape;10369;p13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70" name="Google Shape;10370;p13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71" name="Google Shape;10371;p13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72" name="Google Shape;10372;p13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73" name="Google Shape;10373;p13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374" name="Google Shape;10374;p13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10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6" name="Google Shape;10376;p13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7" name="Google Shape;10377;p13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78" name="Google Shape;10378;p13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79" name="Google Shape;10379;p13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80" name="Google Shape;10380;p13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81" name="Google Shape;10381;p13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82" name="Google Shape;10382;p13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83" name="Google Shape;10383;p13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84" name="Google Shape;10384;p13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85" name="Google Shape;10385;p13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86" name="Google Shape;10386;p13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387" name="Google Shape;10387;p13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10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89" name="Google Shape;10389;p9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90" name="Google Shape;10390;p9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91" name="Google Shape;10391;p9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92" name="Google Shape;10392;p9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93" name="Google Shape;10393;p9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394" name="Google Shape;10394;p9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95" name="Google Shape;10395;p91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96" name="Google Shape;10396;p9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97" name="Google Shape;10397;p9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98" name="Google Shape;10398;p9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10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00" name="Google Shape;10400;p9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01" name="Google Shape;10401;p91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402" name="Google Shape;10402;p9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03" name="Google Shape;10403;p9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04" name="Google Shape;10404;p9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05" name="Google Shape;10405;p9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06" name="Google Shape;10406;p9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07" name="Google Shape;10407;p91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8" name="Google Shape;10408;p91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09" name="Google Shape;10409;p9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10" name="Google Shape;10410;p9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10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12" name="Google Shape;10412;p13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13" name="Google Shape;10413;p13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14" name="Google Shape;10414;p13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15" name="Google Shape;10415;p13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16" name="Google Shape;10416;p13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17" name="Google Shape;10417;p13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18" name="Google Shape;10418;p136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19" name="Google Shape;10419;p136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20" name="Google Shape;10420;p136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21" name="Google Shape;10421;p136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22" name="Google Shape;10422;p13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23" name="Google Shape;10423;p13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24" name="Google Shape;10424;p13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10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26" name="Google Shape;10426;p9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27" name="Google Shape;10427;p9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28" name="Google Shape;10428;p9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29" name="Google Shape;10429;p9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30" name="Google Shape;10430;p9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31" name="Google Shape;10431;p9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32" name="Google Shape;10432;p9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33" name="Google Shape;10433;p9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34" name="Google Shape;10434;p9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104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36" name="Google Shape;10436;p91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437" name="Google Shape;10437;p91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38" name="Google Shape;10438;p91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39" name="Google Shape;10439;p91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40" name="Google Shape;10440;p91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41" name="Google Shape;10441;p91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442" name="Google Shape;10442;p9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443" name="Google Shape;10443;p9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10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" name="Google Shape;10445;p9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46" name="Google Shape;10446;p9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47" name="Google Shape;10447;p9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448" name="Google Shape;10448;p9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49" name="Google Shape;10449;p9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50" name="Google Shape;10450;p9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51" name="Google Shape;10451;p9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52" name="Google Shape;10452;p9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p1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6" name="Google Shape;1066;p1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7" name="Google Shape;1067;p1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8" name="Google Shape;1068;p1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9" name="Google Shape;1069;p1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" name="Google Shape;1070;p1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1" name="Google Shape;1071;p1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2" name="Google Shape;1072;p1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10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54" name="Google Shape;10454;p1365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55" name="Google Shape;10455;p1365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0456" name="Google Shape;10456;p1365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0457" name="Google Shape;10457;p1365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58" name="Google Shape;10458;p1365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0459" name="Google Shape;10459;p13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10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61" name="Google Shape;10461;p89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462" name="Google Shape;10462;p89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63" name="Google Shape;10463;p8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64" name="Google Shape;10464;p89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465" name="Google Shape;10465;p8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466" name="Google Shape;10466;p89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67" name="Google Shape;10467;p89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10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69" name="Google Shape;10469;p89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470" name="Google Shape;10470;p89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471" name="Google Shape;10471;p89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472" name="Google Shape;10472;p89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73" name="Google Shape;10473;p89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74" name="Google Shape;10474;p89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475" name="Google Shape;10475;p8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10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77" name="Google Shape;10477;p90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78" name="Google Shape;10478;p90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79" name="Google Shape;10479;p90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480" name="Google Shape;10480;p9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481" name="Google Shape;10481;p90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482" name="Google Shape;10482;p9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3" name="Google Shape;10483;p9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484" name="Google Shape;10484;p9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10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86" name="Google Shape;10486;p13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87" name="Google Shape;10487;p13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88" name="Google Shape;10488;p13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89" name="Google Shape;10489;p13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90" name="Google Shape;10490;p13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91" name="Google Shape;10491;p13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92" name="Google Shape;10492;p13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93" name="Google Shape;10493;p13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94" name="Google Shape;10494;p13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95" name="Google Shape;10495;p13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7" name="Google Shape;10497;p13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98" name="Google Shape;10498;p136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499" name="Google Shape;10499;p13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00" name="Google Shape;10500;p13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01" name="Google Shape;10501;p13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02" name="Google Shape;10502;p13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03" name="Google Shape;10503;p13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504" name="Google Shape;10504;p136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05" name="Google Shape;10505;p136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06" name="Google Shape;10506;p13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07" name="Google Shape;10507;p13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09" name="Google Shape;10509;p13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10" name="Google Shape;10510;p13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11" name="Google Shape;10511;p13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12" name="Google Shape;10512;p13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13" name="Google Shape;10513;p13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514" name="Google Shape;10514;p13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15" name="Google Shape;10515;p136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16" name="Google Shape;10516;p136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17" name="Google Shape;10517;p136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18" name="Google Shape;10518;p136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19" name="Google Shape;10519;p13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20" name="Google Shape;10520;p13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21" name="Google Shape;10521;p13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5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23" name="Google Shape;10523;p136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24" name="Google Shape;10524;p136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5" name="Google Shape;10525;p136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26" name="Google Shape;10526;p13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27" name="Google Shape;10527;p13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28" name="Google Shape;10528;p13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29" name="Google Shape;10529;p13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30" name="Google Shape;10530;p13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31" name="Google Shape;10531;p13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32" name="Google Shape;10532;p13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33" name="Google Shape;10533;p13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534" name="Google Shape;10534;p136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36" name="Google Shape;10536;p137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537" name="Google Shape;10537;p137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8" name="Google Shape;10538;p137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539" name="Google Shape;10539;p137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40" name="Google Shape;10540;p137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41" name="Google Shape;10541;p137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542" name="Google Shape;10542;p13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543" name="Google Shape;10543;p137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45" name="Google Shape;10545;p13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46" name="Google Shape;10546;p13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47" name="Google Shape;10547;p13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48" name="Google Shape;10548;p13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49" name="Google Shape;10549;p13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550" name="Google Shape;10550;p13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51" name="Google Shape;10551;p13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52" name="Google Shape;10552;p13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53" name="Google Shape;10553;p13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4" name="Google Shape;1074;p15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5" name="Google Shape;1075;p15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6" name="Google Shape;1076;p15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7" name="Google Shape;1077;p1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8" name="Google Shape;1078;p1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9" name="Google Shape;1079;p1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0" name="Google Shape;1080;p1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1" name="Google Shape;1081;p1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" name="Google Shape;1082;p1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" name="Google Shape;1083;p1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4" name="Google Shape;1084;p1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85" name="Google Shape;1085;p15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105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5" name="Google Shape;10555;p13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56" name="Google Shape;10556;p13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57" name="Google Shape;10557;p13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58" name="Google Shape;10558;p13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59" name="Google Shape;10559;p13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60" name="Google Shape;10560;p13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61" name="Google Shape;10561;p13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62" name="Google Shape;10562;p13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63" name="Google Shape;10563;p13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64" name="Google Shape;10564;p13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65" name="Google Shape;10565;p13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566" name="Google Shape;10566;p13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0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68" name="Google Shape;10568;p13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69" name="Google Shape;10569;p13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70" name="Google Shape;10570;p13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71" name="Google Shape;10571;p13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72" name="Google Shape;10572;p13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73" name="Google Shape;10573;p13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74" name="Google Shape;10574;p13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75" name="Google Shape;10575;p13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76" name="Google Shape;10576;p13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77" name="Google Shape;10577;p13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78" name="Google Shape;10578;p13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579" name="Google Shape;10579;p13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10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81" name="Google Shape;10581;p137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82" name="Google Shape;10582;p1374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583" name="Google Shape;10583;p1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0584" name="Google Shape;10584;p1374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585" name="Google Shape;10585;p13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0586" name="Google Shape;10586;p137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87" name="Google Shape;10587;p137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88" name="Google Shape;10588;p137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89" name="Google Shape;10589;p13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90" name="Google Shape;10590;p13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91" name="Google Shape;10591;p13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10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93" name="Google Shape;10593;p13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94" name="Google Shape;10594;p13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95" name="Google Shape;10595;p13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96" name="Google Shape;10596;p13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97" name="Google Shape;10597;p13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98" name="Google Shape;10598;p13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99" name="Google Shape;10599;p13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00" name="Google Shape;10600;p13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01" name="Google Shape;10601;p13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02" name="Google Shape;10602;p13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03" name="Google Shape;10603;p13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04" name="Google Shape;10604;p13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06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06" name="Google Shape;10606;p3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07" name="Google Shape;10607;p3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08" name="Google Shape;10608;p3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09" name="Google Shape;10609;p3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10" name="Google Shape;10610;p3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11" name="Google Shape;10611;p3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12" name="Google Shape;10612;p3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13" name="Google Shape;10613;p3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10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15" name="Google Shape;10615;p13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16" name="Google Shape;10616;p13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17" name="Google Shape;10617;p13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18" name="Google Shape;10618;p13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19" name="Google Shape;10619;p13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20" name="Google Shape;10620;p13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21" name="Google Shape;10621;p13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22" name="Google Shape;10622;p13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23" name="Google Shape;10623;p13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24" name="Google Shape;10624;p13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25" name="Google Shape;10625;p13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26" name="Google Shape;10626;p137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10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8" name="Google Shape;10628;p13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9" name="Google Shape;10629;p13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30" name="Google Shape;10630;p13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31" name="Google Shape;10631;p13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32" name="Google Shape;10632;p13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33" name="Google Shape;10633;p13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34" name="Google Shape;10634;p13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35" name="Google Shape;10635;p13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36" name="Google Shape;10636;p13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37" name="Google Shape;10637;p13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38" name="Google Shape;10638;p13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39" name="Google Shape;10639;p137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0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1" name="Google Shape;10641;p11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42" name="Google Shape;10642;p11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43" name="Google Shape;10643;p11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44" name="Google Shape;10644;p1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45" name="Google Shape;10645;p1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46" name="Google Shape;10646;p1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47" name="Google Shape;10647;p1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48" name="Google Shape;10648;p1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49" name="Google Shape;10649;p1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50" name="Google Shape;10650;p1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51" name="Google Shape;10651;p1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52" name="Google Shape;10652;p11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0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4" name="Google Shape;10654;p13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55" name="Google Shape;10655;p13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56" name="Google Shape;10656;p13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57" name="Google Shape;10657;p13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58" name="Google Shape;10658;p13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59" name="Google Shape;10659;p13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60" name="Google Shape;10660;p13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61" name="Google Shape;10661;p13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62" name="Google Shape;10662;p13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63" name="Google Shape;10663;p13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64" name="Google Shape;10664;p13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65" name="Google Shape;10665;p137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10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67" name="Google Shape;10667;p77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68" name="Google Shape;10668;p77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69" name="Google Shape;10669;p77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670" name="Google Shape;10670;p77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671" name="Google Shape;10671;p77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672" name="Google Shape;10672;p7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73" name="Google Shape;10673;p77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674" name="Google Shape;10674;p7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7" name="Google Shape;1087;p15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8" name="Google Shape;1088;p15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9" name="Google Shape;1089;p15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90" name="Google Shape;1090;p15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1" name="Google Shape;1091;p15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2" name="Google Shape;1092;p15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3" name="Google Shape;1093;p1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94" name="Google Shape;1094;p1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10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76" name="Google Shape;10676;p8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677" name="Google Shape;10677;p8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78" name="Google Shape;10678;p8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79" name="Google Shape;10679;p8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680" name="Google Shape;10680;p8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81" name="Google Shape;10681;p8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82" name="Google Shape;10682;p8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0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84" name="Google Shape;10684;p78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685" name="Google Shape;10685;p78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686" name="Google Shape;10686;p78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687" name="Google Shape;10687;p78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88" name="Google Shape;10688;p78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689" name="Google Shape;10689;p78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690" name="Google Shape;10690;p7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0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92" name="Google Shape;10692;p13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93" name="Google Shape;10693;p13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94" name="Google Shape;10694;p13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95" name="Google Shape;10695;p13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96" name="Google Shape;10696;p13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97" name="Google Shape;10697;p13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98" name="Google Shape;10698;p13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99" name="Google Shape;10699;p13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0" name="Google Shape;10700;p13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01" name="Google Shape;10701;p13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02" name="Google Shape;10702;p13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703" name="Google Shape;10703;p13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10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05" name="Google Shape;10705;p7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06" name="Google Shape;10706;p7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7" name="Google Shape;10707;p7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08" name="Google Shape;10708;p7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09" name="Google Shape;10709;p7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710" name="Google Shape;10710;p7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11" name="Google Shape;10711;p7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12" name="Google Shape;10712;p7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13" name="Google Shape;10713;p7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14" name="Google Shape;10714;p7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0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16" name="Google Shape;10716;p8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17" name="Google Shape;10717;p81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718" name="Google Shape;10718;p8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19" name="Google Shape;10719;p8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20" name="Google Shape;10720;p8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21" name="Google Shape;10721;p8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22" name="Google Shape;10722;p8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723" name="Google Shape;10723;p81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24" name="Google Shape;10724;p81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25" name="Google Shape;10725;p8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26" name="Google Shape;10726;p8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0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28" name="Google Shape;10728;p1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29" name="Google Shape;10729;p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30" name="Google Shape;10730;p1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31" name="Google Shape;10731;p1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32" name="Google Shape;10732;p1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733" name="Google Shape;10733;p1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34" name="Google Shape;10734;p12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735" name="Google Shape;10735;p12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6" name="Google Shape;10736;p12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737" name="Google Shape;10737;p12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8" name="Google Shape;10738;p1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39" name="Google Shape;10739;p1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40" name="Google Shape;10740;p1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0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42" name="Google Shape;10742;p13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43" name="Google Shape;10743;p13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44" name="Google Shape;10744;p13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45" name="Google Shape;10745;p13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46" name="Google Shape;10746;p13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747" name="Google Shape;10747;p13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48" name="Google Shape;10748;p13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49" name="Google Shape;10749;p13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50" name="Google Shape;10750;p13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0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52" name="Google Shape;10752;p12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753" name="Google Shape;10753;p12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54" name="Google Shape;10754;p12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755" name="Google Shape;10755;p12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56" name="Google Shape;10756;p12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57" name="Google Shape;10757;p12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758" name="Google Shape;10758;p1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759" name="Google Shape;10759;p1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07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1" name="Google Shape;10761;p7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62" name="Google Shape;10762;p7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63" name="Google Shape;10763;p7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764" name="Google Shape;10764;p7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65" name="Google Shape;10765;p7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66" name="Google Shape;10766;p7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67" name="Google Shape;10767;p7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68" name="Google Shape;10768;p7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0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70" name="Google Shape;10770;p138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71" name="Google Shape;10771;p138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2" name="Google Shape;10772;p138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773" name="Google Shape;10773;p13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774" name="Google Shape;10774;p138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775" name="Google Shape;10775;p138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76" name="Google Shape;10776;p138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777" name="Google Shape;10777;p13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0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6" name="Google Shape;1096;p16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7" name="Google Shape;1097;p16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8" name="Google Shape;1098;p16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99" name="Google Shape;1099;p1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0" name="Google Shape;1100;p16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1" name="Google Shape;1101;p1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2" name="Google Shape;1102;p16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3" name="Google Shape;1103;p1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10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79" name="Google Shape;10779;p12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780" name="Google Shape;10780;p12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81" name="Google Shape;10781;p12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82" name="Google Shape;10782;p12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783" name="Google Shape;10783;p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784" name="Google Shape;10784;p12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85" name="Google Shape;10785;p12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07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87" name="Google Shape;10787;p138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788" name="Google Shape;10788;p138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789" name="Google Shape;10789;p138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790" name="Google Shape;10790;p138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91" name="Google Shape;10791;p138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792" name="Google Shape;10792;p138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793" name="Google Shape;10793;p13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0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5" name="Google Shape;10795;p138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96" name="Google Shape;10796;p138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97" name="Google Shape;10797;p138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98" name="Google Shape;10798;p13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99" name="Google Shape;10799;p13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00" name="Google Shape;10800;p13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01" name="Google Shape;10801;p13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02" name="Google Shape;10802;p13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03" name="Google Shape;10803;p13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04" name="Google Shape;10804;p13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05" name="Google Shape;10805;p13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806" name="Google Shape;10806;p138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108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08" name="Google Shape;10808;p1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09" name="Google Shape;10809;p1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10" name="Google Shape;10810;p1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11" name="Google Shape;10811;p1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12" name="Google Shape;10812;p1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13" name="Google Shape;10813;p1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14" name="Google Shape;10814;p1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15" name="Google Shape;10815;p1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16" name="Google Shape;10816;p1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17" name="Google Shape;10817;p1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08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9" name="Google Shape;10819;p1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20" name="Google Shape;10820;p1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821" name="Google Shape;10821;p1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22" name="Google Shape;10822;p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3" name="Google Shape;10823;p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24" name="Google Shape;10824;p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25" name="Google Shape;10825;p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26" name="Google Shape;10826;p12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27" name="Google Shape;10827;p12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28" name="Google Shape;10828;p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29" name="Google Shape;10829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08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31" name="Google Shape;10831;p9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32" name="Google Shape;10832;p9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33" name="Google Shape;10833;p9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4" name="Google Shape;10834;p9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35" name="Google Shape;10835;p9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36" name="Google Shape;10836;p9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37" name="Google Shape;10837;p94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838" name="Google Shape;10838;p94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39" name="Google Shape;10839;p94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840" name="Google Shape;10840;p94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41" name="Google Shape;10841;p9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42" name="Google Shape;10842;p9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43" name="Google Shape;10843;p9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0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45" name="Google Shape;10845;p9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46" name="Google Shape;10846;p9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47" name="Google Shape;10847;p9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48" name="Google Shape;10848;p9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49" name="Google Shape;10849;p9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50" name="Google Shape;10850;p9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51" name="Google Shape;10851;p9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52" name="Google Shape;10852;p9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53" name="Google Shape;10853;p9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08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55" name="Google Shape;10855;p95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56" name="Google Shape;10856;p95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57" name="Google Shape;10857;p95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858" name="Google Shape;10858;p95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59" name="Google Shape;10859;p95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60" name="Google Shape;10860;p95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861" name="Google Shape;10861;p9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862" name="Google Shape;10862;p9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08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4" name="Google Shape;10864;p13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65" name="Google Shape;10865;p13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66" name="Google Shape;10866;p13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67" name="Google Shape;10867;p13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68" name="Google Shape;10868;p13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69" name="Google Shape;10869;p13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70" name="Google Shape;10870;p13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71" name="Google Shape;10871;p13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4">
    <p:spTree>
      <p:nvGrpSpPr>
        <p:cNvPr id="1" name="Shape 108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73" name="Google Shape;10873;p138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74" name="Google Shape;10874;p138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75" name="Google Shape;10875;p138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76" name="Google Shape;10876;p13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77" name="Google Shape;10877;p13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78" name="Google Shape;10878;p13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79" name="Google Shape;10879;p13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80" name="Google Shape;10880;p13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81" name="Google Shape;10881;p13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82" name="Google Shape;10882;p13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83" name="Google Shape;10883;p13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884" name="Google Shape;10884;p138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5" name="Google Shape;1105;p16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06" name="Google Shape;1106;p16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6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8" name="Google Shape;1108;p16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9" name="Google Shape;1109;p1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10" name="Google Shape;1110;p16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1" name="Google Shape;1111;p16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0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86" name="Google Shape;10886;p13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87" name="Google Shape;10887;p13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8" name="Google Shape;10888;p13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89" name="Google Shape;10889;p13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90" name="Google Shape;10890;p13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91" name="Google Shape;10891;p13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92" name="Google Shape;10892;p13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93" name="Google Shape;10893;p13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94" name="Google Shape;10894;p13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95" name="Google Shape;10895;p13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96" name="Google Shape;10896;p13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897" name="Google Shape;10897;p138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0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99" name="Google Shape;10899;p138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00" name="Google Shape;10900;p13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01" name="Google Shape;10901;p13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02" name="Google Shape;10902;p13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03" name="Google Shape;10903;p13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04" name="Google Shape;10904;p13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05" name="Google Shape;10905;p13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06" name="Google Shape;10906;p13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07" name="Google Shape;10907;p13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08" name="Google Shape;10908;p13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09" name="Google Shape;10909;p13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910" name="Google Shape;10910;p138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0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12" name="Google Shape;10912;p88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13" name="Google Shape;10913;p88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14" name="Google Shape;10914;p88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915" name="Google Shape;10915;p88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16" name="Google Shape;10916;p88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17" name="Google Shape;10917;p88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18" name="Google Shape;10918;p88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919" name="Google Shape;10919;p8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0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21" name="Google Shape;10921;p88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922" name="Google Shape;10922;p88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23" name="Google Shape;10923;p88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24" name="Google Shape;10924;p88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925" name="Google Shape;10925;p8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926" name="Google Shape;10926;p88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27" name="Google Shape;10927;p88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0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29" name="Google Shape;10929;p88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930" name="Google Shape;10930;p88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931" name="Google Shape;10931;p88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932" name="Google Shape;10932;p88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33" name="Google Shape;10933;p88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934" name="Google Shape;10934;p88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935" name="Google Shape;10935;p8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09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7" name="Google Shape;10937;p138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38" name="Google Shape;10938;p138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39" name="Google Shape;10939;p138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40" name="Google Shape;10940;p13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41" name="Google Shape;10941;p13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42" name="Google Shape;10942;p13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43" name="Google Shape;10943;p13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44" name="Google Shape;10944;p13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45" name="Google Shape;10945;p13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46" name="Google Shape;10946;p13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47" name="Google Shape;10947;p13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948" name="Google Shape;10948;p138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1">
    <p:spTree>
      <p:nvGrpSpPr>
        <p:cNvPr id="1" name="Shape 10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0" name="Google Shape;10950;p13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51" name="Google Shape;10951;p13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52" name="Google Shape;10952;p13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53" name="Google Shape;10953;p13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54" name="Google Shape;10954;p13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55" name="Google Shape;10955;p13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56" name="Google Shape;10956;p13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57" name="Google Shape;10957;p13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58" name="Google Shape;10958;p13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59" name="Google Shape;10959;p13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60" name="Google Shape;10960;p13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961" name="Google Shape;10961;p13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109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63" name="Google Shape;10963;p8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64" name="Google Shape;10964;p8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65" name="Google Shape;10965;p8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66" name="Google Shape;10966;p8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67" name="Google Shape;10967;p8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968" name="Google Shape;10968;p8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69" name="Google Shape;10969;p88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70" name="Google Shape;10970;p8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71" name="Google Shape;10971;p8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72" name="Google Shape;10972;p8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09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74" name="Google Shape;10974;p8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75" name="Google Shape;10975;p88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976" name="Google Shape;10976;p8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77" name="Google Shape;10977;p8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78" name="Google Shape;10978;p8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79" name="Google Shape;10979;p8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80" name="Google Shape;10980;p8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981" name="Google Shape;10981;p88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82" name="Google Shape;10982;p88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83" name="Google Shape;10983;p8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84" name="Google Shape;10984;p8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0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86" name="Google Shape;10986;p8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87" name="Google Shape;10987;p8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88" name="Google Shape;10988;p8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89" name="Google Shape;10989;p8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90" name="Google Shape;10990;p8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991" name="Google Shape;10991;p8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92" name="Google Shape;10992;p88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993" name="Google Shape;10993;p88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94" name="Google Shape;10994;p88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995" name="Google Shape;10995;p88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96" name="Google Shape;10996;p8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97" name="Google Shape;10997;p8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98" name="Google Shape;10998;p8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3" name="Google Shape;1113;p16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14" name="Google Shape;1114;p16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5" name="Google Shape;1115;p16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16" name="Google Shape;1116;p16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7" name="Google Shape;1117;p16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18" name="Google Shape;1118;p16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19" name="Google Shape;1119;p1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0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00" name="Google Shape;11000;p8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01" name="Google Shape;11001;p8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02" name="Google Shape;11002;p8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03" name="Google Shape;11003;p8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04" name="Google Shape;11004;p8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005" name="Google Shape;11005;p8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06" name="Google Shape;11006;p8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07" name="Google Shape;11007;p8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08" name="Google Shape;11008;p8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10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10" name="Google Shape;11010;p89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011" name="Google Shape;11011;p89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12" name="Google Shape;11012;p89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013" name="Google Shape;11013;p89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14" name="Google Shape;11014;p89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15" name="Google Shape;11015;p89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016" name="Google Shape;11016;p8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017" name="Google Shape;11017;p8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1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19" name="Google Shape;11019;p8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20" name="Google Shape;11020;p8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21" name="Google Shape;11021;p8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022" name="Google Shape;11022;p8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23" name="Google Shape;11023;p8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24" name="Google Shape;11024;p8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25" name="Google Shape;11025;p8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26" name="Google Shape;11026;p8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1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8" name="Google Shape;11028;p139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29" name="Google Shape;11029;p139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30" name="Google Shape;11030;p139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031" name="Google Shape;11031;p139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32" name="Google Shape;11032;p139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33" name="Google Shape;11033;p13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34" name="Google Shape;11034;p139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35" name="Google Shape;11035;p13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1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37" name="Google Shape;11037;p139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038" name="Google Shape;11038;p139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39" name="Google Shape;11039;p13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40" name="Google Shape;11040;p139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41" name="Google Shape;11041;p13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42" name="Google Shape;11042;p139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43" name="Google Shape;11043;p139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10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45" name="Google Shape;11045;p91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46" name="Google Shape;11046;p91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47" name="Google Shape;11047;p91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48" name="Google Shape;11048;p91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49" name="Google Shape;11049;p91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050" name="Google Shape;11050;p91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051" name="Google Shape;11051;p9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2">
    <p:spTree>
      <p:nvGrpSpPr>
        <p:cNvPr id="1" name="Shape 110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3" name="Google Shape;11053;p139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54" name="Google Shape;11054;p139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55" name="Google Shape;11055;p139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56" name="Google Shape;11056;p13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57" name="Google Shape;11057;p13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58" name="Google Shape;11058;p13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059" name="Google Shape;11059;p13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60" name="Google Shape;11060;p13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61" name="Google Shape;11061;p13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62" name="Google Shape;11062;p13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63" name="Google Shape;11063;p13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064" name="Google Shape;11064;p139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10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66" name="Google Shape;11066;p13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67" name="Google Shape;11067;p13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68" name="Google Shape;11068;p13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69" name="Google Shape;11069;p13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70" name="Google Shape;11070;p13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071" name="Google Shape;11071;p13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72" name="Google Shape;11072;p13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73" name="Google Shape;11073;p13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74" name="Google Shape;11074;p13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75" name="Google Shape;11075;p13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1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7" name="Google Shape;11077;p13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78" name="Google Shape;11078;p139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079" name="Google Shape;11079;p13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80" name="Google Shape;11080;p13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81" name="Google Shape;11081;p13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82" name="Google Shape;11082;p13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83" name="Google Shape;11083;p13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084" name="Google Shape;11084;p139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85" name="Google Shape;11085;p139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86" name="Google Shape;11086;p13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87" name="Google Shape;11087;p13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10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89" name="Google Shape;11089;p13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90" name="Google Shape;11090;p13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91" name="Google Shape;11091;p13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92" name="Google Shape;11092;p13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93" name="Google Shape;11093;p13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094" name="Google Shape;11094;p13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95" name="Google Shape;11095;p139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096" name="Google Shape;11096;p139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97" name="Google Shape;11097;p139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098" name="Google Shape;11098;p139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99" name="Google Shape;11099;p13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00" name="Google Shape;11100;p13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01" name="Google Shape;11101;p13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1" name="Google Shape;1121;p1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2" name="Google Shape;1122;p1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3" name="Google Shape;1123;p1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4" name="Google Shape;1124;p1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5" name="Google Shape;1125;p1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6" name="Google Shape;1126;p1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27" name="Google Shape;1127;p1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8" name="Google Shape;1128;p1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9" name="Google Shape;1129;p1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30" name="Google Shape;1130;p1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1" name="Google Shape;1131;p1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2" name="Google Shape;1132;p1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03" name="Google Shape;11103;p13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04" name="Google Shape;11104;p13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05" name="Google Shape;11105;p13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06" name="Google Shape;11106;p13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07" name="Google Shape;11107;p13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108" name="Google Shape;11108;p13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09" name="Google Shape;11109;p13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10" name="Google Shape;11110;p13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11" name="Google Shape;11111;p13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1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13" name="Google Shape;11113;p139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114" name="Google Shape;11114;p139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15" name="Google Shape;11115;p139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116" name="Google Shape;11116;p139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17" name="Google Shape;11117;p139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18" name="Google Shape;11118;p139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119" name="Google Shape;11119;p13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120" name="Google Shape;11120;p13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1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2" name="Google Shape;11122;p13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23" name="Google Shape;11123;p13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24" name="Google Shape;11124;p13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25" name="Google Shape;11125;p13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26" name="Google Shape;11126;p13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27" name="Google Shape;11127;p13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28" name="Google Shape;11128;p13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29" name="Google Shape;11129;p13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5">
    <p:spTree>
      <p:nvGrpSpPr>
        <p:cNvPr id="1" name="Shape 11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31" name="Google Shape;11131;p11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32" name="Google Shape;11132;p11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33" name="Google Shape;11133;p11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34" name="Google Shape;11134;p11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35" name="Google Shape;11135;p11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36" name="Google Shape;11136;p11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37" name="Google Shape;11137;p11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38" name="Google Shape;11138;p11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39" name="Google Shape;11139;p11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40" name="Google Shape;11140;p11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41" name="Google Shape;11141;p11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142" name="Google Shape;11142;p11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1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44" name="Google Shape;11144;p770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45" name="Google Shape;11145;p770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146" name="Google Shape;11146;p7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1147" name="Google Shape;11147;p770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148" name="Google Shape;11148;p77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1149" name="Google Shape;11149;p770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50" name="Google Shape;11150;p770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51" name="Google Shape;11151;p770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52" name="Google Shape;11152;p7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53" name="Google Shape;11153;p77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54" name="Google Shape;11154;p7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4">
    <p:spTree>
      <p:nvGrpSpPr>
        <p:cNvPr id="1" name="Shape 1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6" name="Google Shape;11156;p139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57" name="Google Shape;11157;p13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58" name="Google Shape;11158;p13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59" name="Google Shape;11159;p13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60" name="Google Shape;11160;p13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61" name="Google Shape;11161;p13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62" name="Google Shape;11162;p13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63" name="Google Shape;11163;p13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64" name="Google Shape;11164;p13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65" name="Google Shape;11165;p13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66" name="Google Shape;11166;p13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167" name="Google Shape;11167;p13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1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9" name="Google Shape;11169;p140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0" name="Google Shape;11170;p140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71" name="Google Shape;11171;p140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72" name="Google Shape;11172;p14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73" name="Google Shape;11173;p14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74" name="Google Shape;11174;p14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75" name="Google Shape;11175;p14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76" name="Google Shape;11176;p14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77" name="Google Shape;11177;p14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78" name="Google Shape;11178;p14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79" name="Google Shape;11179;p14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180" name="Google Shape;11180;p140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1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82" name="Google Shape;11182;p33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83" name="Google Shape;11183;p33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84" name="Google Shape;11184;p33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85" name="Google Shape;11185;p3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86" name="Google Shape;11186;p3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1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88" name="Google Shape;11188;p27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89" name="Google Shape;11189;p27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90" name="Google Shape;11190;p27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91" name="Google Shape;11191;p2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92" name="Google Shape;11192;p2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193" name="Google Shape;11193;p27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94" name="Google Shape;11194;p27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95" name="Google Shape;11195;p27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196" name="Google Shape;11196;p2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1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98" name="Google Shape;11198;p33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99" name="Google Shape;11199;p33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00" name="Google Shape;11200;p33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01" name="Google Shape;11201;p3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02" name="Google Shape;11202;p3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03" name="Google Shape;11203;p33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04" name="Google Shape;11204;p33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05" name="Google Shape;11205;p33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06" name="Google Shape;11206;p3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" name="Google Shape;1134;p1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5" name="Google Shape;1135;p1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1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" name="Google Shape;1137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8" name="Google Shape;1138;p1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9" name="Google Shape;1139;p1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0" name="Google Shape;1140;p1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1" name="Google Shape;1141;p1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2" name="Google Shape;1142;p1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3" name="Google Shape;1143;p1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4" name="Google Shape;1144;p1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45" name="Google Shape;1145;p1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1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8" name="Google Shape;11208;p33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09" name="Google Shape;11209;p33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10" name="Google Shape;11210;p33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11" name="Google Shape;11211;p33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12" name="Google Shape;11212;p3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1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14" name="Google Shape;11214;p3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215" name="Google Shape;11215;p3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216" name="Google Shape;11216;p3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17" name="Google Shape;11217;p33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18" name="Google Shape;11218;p33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1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0" name="Google Shape;11220;p3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21" name="Google Shape;11221;p3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22" name="Google Shape;11222;p33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23" name="Google Shape;11223;p33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24" name="Google Shape;11224;p33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225" name="Google Shape;11225;p3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1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7" name="Google Shape;11227;p34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28" name="Google Shape;11228;p34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29" name="Google Shape;11229;p3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30" name="Google Shape;11230;p3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31" name="Google Shape;11231;p3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32" name="Google Shape;11232;p34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33" name="Google Shape;11233;p34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34" name="Google Shape;11234;p34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35" name="Google Shape;11235;p3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37" name="Google Shape;11237;p34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38" name="Google Shape;11238;p34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39" name="Google Shape;11239;p34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40" name="Google Shape;11240;p34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41" name="Google Shape;11241;p3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3" name="Google Shape;11243;p34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244" name="Google Shape;11244;p3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245" name="Google Shape;11245;p34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46" name="Google Shape;11246;p34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47" name="Google Shape;11247;p34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1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9" name="Google Shape;11249;p3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50" name="Google Shape;11250;p3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51" name="Google Shape;11251;p34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2" name="Google Shape;11252;p34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3" name="Google Shape;11253;p34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254" name="Google Shape;11254;p3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1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56" name="Google Shape;11256;p140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7" name="Google Shape;11257;p140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58" name="Google Shape;11258;p140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59" name="Google Shape;11259;p14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60" name="Google Shape;11260;p14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61" name="Google Shape;11261;p140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62" name="Google Shape;11262;p140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63" name="Google Shape;11263;p140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64" name="Google Shape;11264;p14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1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Google Shape;11266;p140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67" name="Google Shape;11267;p140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68" name="Google Shape;11268;p140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69" name="Google Shape;11269;p14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70" name="Google Shape;11270;p14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71" name="Google Shape;11271;p140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72" name="Google Shape;11272;p140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73" name="Google Shape;11273;p140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74" name="Google Shape;11274;p14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1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6" name="Google Shape;11276;p140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77" name="Google Shape;11277;p140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78" name="Google Shape;11278;p14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79" name="Google Shape;11279;p14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80" name="Google Shape;11280;p14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81" name="Google Shape;11281;p140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2" name="Google Shape;11282;p140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3" name="Google Shape;11283;p140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84" name="Google Shape;11284;p14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" name="Google Shape;1147;p1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" name="Google Shape;1148;p1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" name="Google Shape;1149;p1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" name="Google Shape;1150;p1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" name="Google Shape;1151;p1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" name="Google Shape;1152;p1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" name="Google Shape;1153;p1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4" name="Google Shape;1154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5" name="Google Shape;1155;p1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6" name="Google Shape;1156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1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86" name="Google Shape;11286;p140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87" name="Google Shape;11287;p140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8" name="Google Shape;11288;p140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9" name="Google Shape;11289;p140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90" name="Google Shape;11290;p14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92" name="Google Shape;11292;p140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293" name="Google Shape;11293;p14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294" name="Google Shape;11294;p140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95" name="Google Shape;11295;p140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96" name="Google Shape;11296;p140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98" name="Google Shape;11298;p140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99" name="Google Shape;11299;p140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00" name="Google Shape;11300;p140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01" name="Google Shape;11301;p140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02" name="Google Shape;11302;p140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03" name="Google Shape;11303;p14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1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5" name="Google Shape;11305;p140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06" name="Google Shape;11306;p140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7" name="Google Shape;11307;p140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308" name="Google Shape;11308;p14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9" name="Google Shape;11309;p14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310" name="Google Shape;11310;p140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1" name="Google Shape;11311;p140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2" name="Google Shape;11312;p140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13" name="Google Shape;11313;p14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15" name="Google Shape;11315;p140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16" name="Google Shape;11316;p140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7" name="Google Shape;11317;p140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8" name="Google Shape;11318;p140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19" name="Google Shape;11319;p14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1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1" name="Google Shape;11321;p140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22" name="Google Shape;11322;p14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23" name="Google Shape;11323;p140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24" name="Google Shape;11324;p140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25" name="Google Shape;11325;p140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1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7" name="Google Shape;11327;p141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28" name="Google Shape;11328;p141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29" name="Google Shape;11329;p141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30" name="Google Shape;11330;p141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31" name="Google Shape;11331;p141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32" name="Google Shape;11332;p14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11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4" name="Google Shape;11334;p9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35" name="Google Shape;11335;p9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36" name="Google Shape;11336;p9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337" name="Google Shape;11337;p9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38" name="Google Shape;11338;p9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339" name="Google Shape;11339;p9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0" name="Google Shape;11340;p9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1" name="Google Shape;11341;p9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42" name="Google Shape;11342;p9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1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4" name="Google Shape;11344;p141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45" name="Google Shape;11345;p141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6" name="Google Shape;11346;p141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7" name="Google Shape;11347;p141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48" name="Google Shape;11348;p14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1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0" name="Google Shape;11350;p141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51" name="Google Shape;11351;p14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52" name="Google Shape;11352;p141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53" name="Google Shape;11353;p141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54" name="Google Shape;11354;p141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Google Shape;123;p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4" name="Google Shape;124;p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" name="Google Shape;125;p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6" name="Google Shape;126;p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8" name="Google Shape;128;p6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6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" name="Google Shape;131;p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" name="Google Shape;132;p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1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9" name="Google Shape;1159;p1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60" name="Google Shape;1160;p1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1" name="Google Shape;1161;p1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2" name="Google Shape;1162;p1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3" name="Google Shape;1163;p1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4" name="Google Shape;1164;p1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5" name="Google Shape;1165;p16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6" name="Google Shape;1166;p16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7" name="Google Shape;1167;p1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8" name="Google Shape;1168;p1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11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6" name="Google Shape;11356;p141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57" name="Google Shape;11357;p141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58" name="Google Shape;11358;p141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59" name="Google Shape;11359;p141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60" name="Google Shape;11360;p141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61" name="Google Shape;11361;p14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11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3" name="Google Shape;11363;p87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4" name="Google Shape;11364;p87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65" name="Google Shape;11365;p87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66" name="Google Shape;11366;p87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67" name="Google Shape;11367;p8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11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9" name="Google Shape;11369;p87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70" name="Google Shape;11370;p8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71" name="Google Shape;11371;p87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72" name="Google Shape;11372;p87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73" name="Google Shape;11373;p87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11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75" name="Google Shape;11375;p88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76" name="Google Shape;11376;p88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77" name="Google Shape;11377;p88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8" name="Google Shape;11378;p88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9" name="Google Shape;11379;p88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80" name="Google Shape;11380;p8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11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2" name="Google Shape;11382;p103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83" name="Google Shape;11383;p10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84" name="Google Shape;11384;p10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85" name="Google Shape;11385;p103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86" name="Google Shape;11386;p10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11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8" name="Google Shape;11388;p103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89" name="Google Shape;11389;p10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90" name="Google Shape;11390;p103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91" name="Google Shape;11391;p103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92" name="Google Shape;11392;p103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11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4" name="Google Shape;11394;p3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95" name="Google Shape;11395;p3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96" name="Google Shape;11396;p35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97" name="Google Shape;11397;p35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98" name="Google Shape;11398;p35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99" name="Google Shape;11399;p3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1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01" name="Google Shape;11401;p102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02" name="Google Shape;11402;p102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03" name="Google Shape;11403;p102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404" name="Google Shape;11404;p10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405" name="Google Shape;11405;p102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406" name="Google Shape;11406;p102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07" name="Google Shape;11407;p102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08" name="Google Shape;11408;p10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1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10" name="Google Shape;11410;p102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411" name="Google Shape;11411;p102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12" name="Google Shape;11412;p10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13" name="Google Shape;11413;p102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14" name="Google Shape;11414;p10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415" name="Google Shape;11415;p102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16" name="Google Shape;11416;p102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1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8" name="Google Shape;11418;p80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419" name="Google Shape;11419;p80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420" name="Google Shape;11420;p80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421" name="Google Shape;11421;p80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22" name="Google Shape;11422;p80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423" name="Google Shape;11423;p80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424" name="Google Shape;11424;p8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0" name="Google Shape;1170;p1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1" name="Google Shape;1171;p1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2" name="Google Shape;1172;p1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3" name="Google Shape;1173;p1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4" name="Google Shape;1174;p1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5" name="Google Shape;1175;p1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6" name="Google Shape;1176;p16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7" name="Google Shape;1177;p16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8" name="Google Shape;1178;p16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9" name="Google Shape;1179;p16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0" name="Google Shape;1180;p1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" name="Google Shape;1181;p1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" name="Google Shape;1182;p1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3">
    <p:spTree>
      <p:nvGrpSpPr>
        <p:cNvPr id="1" name="Shape 11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26" name="Google Shape;11426;p14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27" name="Google Shape;11427;p14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28" name="Google Shape;11428;p14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29" name="Google Shape;11429;p14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30" name="Google Shape;11430;p14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31" name="Google Shape;11431;p14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32" name="Google Shape;11432;p14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33" name="Google Shape;11433;p14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34" name="Google Shape;11434;p14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35" name="Google Shape;11435;p14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36" name="Google Shape;11436;p14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437" name="Google Shape;11437;p14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1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39" name="Google Shape;11439;p10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40" name="Google Shape;11440;p10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41" name="Google Shape;11441;p10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42" name="Google Shape;11442;p10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43" name="Google Shape;11443;p10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444" name="Google Shape;11444;p10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45" name="Google Shape;11445;p102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46" name="Google Shape;11446;p10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47" name="Google Shape;11447;p10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48" name="Google Shape;11448;p10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1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50" name="Google Shape;11450;p8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51" name="Google Shape;11451;p8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452" name="Google Shape;11452;p8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53" name="Google Shape;11453;p8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54" name="Google Shape;11454;p8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55" name="Google Shape;11455;p8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56" name="Google Shape;11456;p8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457" name="Google Shape;11457;p81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58" name="Google Shape;11458;p81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59" name="Google Shape;11459;p8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60" name="Google Shape;11460;p8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1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62" name="Google Shape;11462;p10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63" name="Google Shape;11463;p10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64" name="Google Shape;11464;p10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65" name="Google Shape;11465;p10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66" name="Google Shape;11466;p10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467" name="Google Shape;11467;p10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68" name="Google Shape;11468;p102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469" name="Google Shape;11469;p102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70" name="Google Shape;11470;p102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471" name="Google Shape;11471;p102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72" name="Google Shape;11472;p10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73" name="Google Shape;11473;p10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74" name="Google Shape;11474;p10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1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6" name="Google Shape;11476;p10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77" name="Google Shape;11477;p10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78" name="Google Shape;11478;p10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79" name="Google Shape;11479;p10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80" name="Google Shape;11480;p10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481" name="Google Shape;11481;p10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82" name="Google Shape;11482;p10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83" name="Google Shape;11483;p10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84" name="Google Shape;11484;p10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1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86" name="Google Shape;11486;p103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487" name="Google Shape;11487;p103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88" name="Google Shape;11488;p103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489" name="Google Shape;11489;p103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90" name="Google Shape;11490;p103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91" name="Google Shape;11491;p103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492" name="Google Shape;11492;p10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493" name="Google Shape;11493;p103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1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95" name="Google Shape;11495;p10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96" name="Google Shape;11496;p10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97" name="Google Shape;11497;p10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98" name="Google Shape;11498;p10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99" name="Google Shape;11499;p10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00" name="Google Shape;11500;p10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1" name="Google Shape;11501;p10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02" name="Google Shape;11502;p10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5">
    <p:spTree>
      <p:nvGrpSpPr>
        <p:cNvPr id="1" name="Shape 11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04" name="Google Shape;11504;p141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05" name="Google Shape;11505;p141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06" name="Google Shape;11506;p141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507" name="Google Shape;11507;p14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508" name="Google Shape;11508;p141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509" name="Google Shape;11509;p14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0" name="Google Shape;11510;p14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11" name="Google Shape;11511;p14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11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13" name="Google Shape;11513;p14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514" name="Google Shape;11514;p14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5" name="Google Shape;11515;p14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6" name="Google Shape;11516;p14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17" name="Google Shape;11517;p14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518" name="Google Shape;11518;p14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19" name="Google Shape;11519;p14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5">
    <p:spTree>
      <p:nvGrpSpPr>
        <p:cNvPr id="1" name="Shape 11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21" name="Google Shape;11521;p14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522" name="Google Shape;11522;p14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523" name="Google Shape;11523;p14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524" name="Google Shape;11524;p14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5" name="Google Shape;11525;p14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526" name="Google Shape;11526;p14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27" name="Google Shape;11527;p14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4" name="Google Shape;1184;p1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5" name="Google Shape;1185;p1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6" name="Google Shape;1186;p1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7" name="Google Shape;1187;p1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8" name="Google Shape;1188;p1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9" name="Google Shape;1189;p1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0" name="Google Shape;1190;p1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1" name="Google Shape;1191;p1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2" name="Google Shape;1192;p1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4">
    <p:spTree>
      <p:nvGrpSpPr>
        <p:cNvPr id="1" name="Shape 115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29" name="Google Shape;11529;p14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30" name="Google Shape;11530;p14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1" name="Google Shape;11531;p14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32" name="Google Shape;11532;p14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33" name="Google Shape;11533;p14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34" name="Google Shape;11534;p14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35" name="Google Shape;11535;p14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36" name="Google Shape;11536;p14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37" name="Google Shape;11537;p14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38" name="Google Shape;11538;p14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39" name="Google Shape;11539;p14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540" name="Google Shape;11540;p14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11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42" name="Google Shape;11542;p14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43" name="Google Shape;11543;p14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44" name="Google Shape;11544;p14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45" name="Google Shape;11545;p14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46" name="Google Shape;11546;p14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547" name="Google Shape;11547;p14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48" name="Google Shape;11548;p14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49" name="Google Shape;11549;p14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50" name="Google Shape;11550;p14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51" name="Google Shape;11551;p14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4">
    <p:spTree>
      <p:nvGrpSpPr>
        <p:cNvPr id="1" name="Shape 11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53" name="Google Shape;11553;p14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54" name="Google Shape;11554;p142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555" name="Google Shape;11555;p14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56" name="Google Shape;11556;p14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57" name="Google Shape;11557;p14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58" name="Google Shape;11558;p14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59" name="Google Shape;11559;p14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560" name="Google Shape;11560;p142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61" name="Google Shape;11561;p142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62" name="Google Shape;11562;p14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63" name="Google Shape;11563;p14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4">
    <p:spTree>
      <p:nvGrpSpPr>
        <p:cNvPr id="1" name="Shape 11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65" name="Google Shape;11565;p14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66" name="Google Shape;11566;p14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67" name="Google Shape;11567;p14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68" name="Google Shape;11568;p14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69" name="Google Shape;11569;p14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570" name="Google Shape;11570;p14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71" name="Google Shape;11571;p142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72" name="Google Shape;11572;p142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3" name="Google Shape;11573;p142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74" name="Google Shape;11574;p142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5" name="Google Shape;11575;p14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76" name="Google Shape;11576;p14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77" name="Google Shape;11577;p14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4">
    <p:spTree>
      <p:nvGrpSpPr>
        <p:cNvPr id="1" name="Shape 11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79" name="Google Shape;11579;p14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80" name="Google Shape;11580;p14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81" name="Google Shape;11581;p14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82" name="Google Shape;11582;p14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83" name="Google Shape;11583;p14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584" name="Google Shape;11584;p14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85" name="Google Shape;11585;p14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6" name="Google Shape;11586;p14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87" name="Google Shape;11587;p14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5">
    <p:spTree>
      <p:nvGrpSpPr>
        <p:cNvPr id="1" name="Shape 115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89" name="Google Shape;11589;p142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590" name="Google Shape;11590;p142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91" name="Google Shape;11591;p142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592" name="Google Shape;11592;p142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93" name="Google Shape;11593;p142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94" name="Google Shape;11594;p142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595" name="Google Shape;11595;p14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596" name="Google Shape;11596;p142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4">
    <p:spTree>
      <p:nvGrpSpPr>
        <p:cNvPr id="1" name="Shape 115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98" name="Google Shape;11598;p14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99" name="Google Shape;11599;p14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00" name="Google Shape;11600;p14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601" name="Google Shape;11601;p14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02" name="Google Shape;11602;p14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03" name="Google Shape;11603;p14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04" name="Google Shape;11604;p14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605" name="Google Shape;11605;p14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16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07" name="Google Shape;11607;p284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608" name="Google Shape;11608;p2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609" name="Google Shape;11609;p284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1610" name="Google Shape;11610;p284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611" name="Google Shape;11611;p284"/>
            <p:cNvPicPr preferRelativeResize="0"/>
            <p:nvPr/>
          </p:nvPicPr>
          <p:blipFill rotWithShape="1">
            <a:blip r:embed="rId3">
              <a:alphaModFix/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1612" name="Google Shape;11612;p284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13" name="Google Shape;11613;p284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14" name="Google Shape;11614;p284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15" name="Google Shape;11615;p284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1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7" name="Google Shape;11617;p285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18" name="Google Shape;11618;p285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19" name="Google Shape;11619;p285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20" name="Google Shape;11620;p285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21" name="Google Shape;11621;p2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622" name="Google Shape;11622;p285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1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24" name="Google Shape;11624;p4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25" name="Google Shape;11625;p4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26" name="Google Shape;11626;p4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27" name="Google Shape;11627;p4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28" name="Google Shape;11628;p4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29" name="Google Shape;11629;p4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30" name="Google Shape;11630;p40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31" name="Google Shape;11631;p4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32" name="Google Shape;11632;p4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33" name="Google Shape;11633;p4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" name="Google Shape;1194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5" name="Google Shape;1195;p1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6" name="Google Shape;1196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7" name="Google Shape;1197;p1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8" name="Google Shape;1198;p1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9" name="Google Shape;1199;p1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0" name="Google Shape;1200;p1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1" name="Google Shape;1201;p1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1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35" name="Google Shape;11635;p40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636" name="Google Shape;11636;p40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637" name="Google Shape;11637;p40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638" name="Google Shape;11638;p40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39" name="Google Shape;11639;p40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640" name="Google Shape;11640;p40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641" name="Google Shape;11641;p4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2">
    <p:spTree>
      <p:nvGrpSpPr>
        <p:cNvPr id="1" name="Shape 11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43" name="Google Shape;11643;p14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44" name="Google Shape;11644;p14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45" name="Google Shape;11645;p14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46" name="Google Shape;11646;p14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47" name="Google Shape;11647;p14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48" name="Google Shape;11648;p14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49" name="Google Shape;11649;p14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50" name="Google Shape;11650;p14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51" name="Google Shape;11651;p14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52" name="Google Shape;11652;p14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2">
    <p:spTree>
      <p:nvGrpSpPr>
        <p:cNvPr id="1" name="Shape 11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4" name="Google Shape;11654;p142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655" name="Google Shape;11655;p142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656" name="Google Shape;11656;p142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657" name="Google Shape;11657;p142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58" name="Google Shape;11658;p142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659" name="Google Shape;11659;p142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660" name="Google Shape;11660;p14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11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62" name="Google Shape;11662;p14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63" name="Google Shape;11663;p142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11664" name="Google Shape;11664;p1427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65" name="Google Shape;11665;p1427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 3">
    <p:spTree>
      <p:nvGrpSpPr>
        <p:cNvPr id="1" name="Shape 1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67" name="Google Shape;11667;p14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2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11668" name="Google Shape;11668;p14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69" name="Google Shape;11669;p14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670" name="Google Shape;11670;p1428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">
    <p:spTree>
      <p:nvGrpSpPr>
        <p:cNvPr id="1" name="Shape 11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72" name="Google Shape;11672;p14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11673" name="Google Shape;11673;p1429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4" name="Google Shape;11674;p14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675" name="Google Shape;11675;p1429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">
    <p:spTree>
      <p:nvGrpSpPr>
        <p:cNvPr id="1" name="Shape 116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77" name="Google Shape;11677;p14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78" name="Google Shape;11678;p14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11679" name="Google Shape;11679;p1430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80" name="Google Shape;11680;p1430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11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82" name="Google Shape;11682;p14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1683" name="Google Shape;11683;p14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84" name="Google Shape;11684;p14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685" name="Google Shape;11685;p143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">
    <p:spTree>
      <p:nvGrpSpPr>
        <p:cNvPr id="1" name="Shape 11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87" name="Google Shape;11687;p14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1688" name="Google Shape;11688;p143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89" name="Google Shape;11689;p143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90" name="Google Shape;11690;p1432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">
    <p:spTree>
      <p:nvGrpSpPr>
        <p:cNvPr id="1" name="Shape 11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92" name="Google Shape;11692;p14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93" name="Google Shape;11693;p143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3" name="Google Shape;1203;p1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4" name="Google Shape;1204;p1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5" name="Google Shape;1205;p1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6" name="Google Shape;1206;p1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7" name="Google Shape;1207;p1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8" name="Google Shape;1208;p1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09" name="Google Shape;1209;p1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10" name="Google Shape;1210;p1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1" name="Google Shape;1211;p1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12" name="Google Shape;1212;p1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3" name="Google Shape;1213;p1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14" name="Google Shape;1214;p1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11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95" name="Google Shape;11695;p14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96" name="Google Shape;11696;p14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97" name="Google Shape;11697;p14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698" name="Google Shape;11698;p14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99" name="Google Shape;11699;p14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700" name="Google Shape;11700;p14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1" name="Google Shape;11701;p14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2" name="Google Shape;11702;p14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703" name="Google Shape;11703;p14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8">
    <p:spTree>
      <p:nvGrpSpPr>
        <p:cNvPr id="1" name="Shape 11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05" name="Google Shape;11705;p14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06" name="Google Shape;11706;p14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7" name="Google Shape;11707;p14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8" name="Google Shape;11708;p14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709" name="Google Shape;11709;p14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8">
    <p:spTree>
      <p:nvGrpSpPr>
        <p:cNvPr id="1" name="Shape 117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11" name="Google Shape;11711;p40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12" name="Google Shape;11712;p4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713" name="Google Shape;11713;p40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14" name="Google Shape;11714;p40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15" name="Google Shape;11715;p40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8">
    <p:spTree>
      <p:nvGrpSpPr>
        <p:cNvPr id="1" name="Shape 11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17" name="Google Shape;11717;p40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18" name="Google Shape;11718;p40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19" name="Google Shape;11719;p40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0" name="Google Shape;11720;p40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1" name="Google Shape;11721;p40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22" name="Google Shape;11722;p4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11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24" name="Google Shape;11724;p356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25" name="Google Shape;11725;p356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26" name="Google Shape;11726;p356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7" name="Google Shape;11727;p356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8" name="Google Shape;11728;p3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729" name="Google Shape;11729;p356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31" name="Google Shape;11731;p1436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32" name="Google Shape;11732;p1436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1733" name="Google Shape;11733;p143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734" name="Google Shape;11734;p14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35" name="Google Shape;11735;p14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1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37" name="Google Shape;11737;p1437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38" name="Google Shape;11738;p1437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1739" name="Google Shape;11739;p1437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1740" name="Google Shape;11740;p143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741" name="Google Shape;11741;p14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42" name="Google Shape;11742;p14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1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4" name="Google Shape;11744;p1438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45" name="Google Shape;11745;p1438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46" name="Google Shape;11746;p1438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47" name="Google Shape;11747;p1438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48" name="Google Shape;11748;p1438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49" name="Google Shape;11749;p1438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750" name="Google Shape;11750;p1438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51" name="Google Shape;11751;p1438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752" name="Google Shape;11752;p14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4">
    <p:spTree>
      <p:nvGrpSpPr>
        <p:cNvPr id="1" name="Shape 117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54" name="Google Shape;11754;p14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55" name="Google Shape;11755;p14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56" name="Google Shape;11756;p14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57" name="Google Shape;11757;p14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58" name="Google Shape;11758;p14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59" name="Google Shape;11759;p14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60" name="Google Shape;11760;p143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61" name="Google Shape;11761;p14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62" name="Google Shape;11762;p14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63" name="Google Shape;11763;p14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3">
    <p:spTree>
      <p:nvGrpSpPr>
        <p:cNvPr id="1" name="Shape 1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65" name="Google Shape;11765;p14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766" name="Google Shape;11766;p144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767" name="Google Shape;11767;p14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768" name="Google Shape;11768;p14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69" name="Google Shape;11769;p14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70" name="Google Shape;11770;p14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771" name="Google Shape;11771;p14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16" name="Google Shape;1216;p17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217" name="Google Shape;1217;p17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8" name="Google Shape;1218;p17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19" name="Google Shape;1219;p17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0" name="Google Shape;1220;p17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1" name="Google Shape;1221;p17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22" name="Google Shape;1222;p1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223" name="Google Shape;1223;p17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117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3" name="Google Shape;11773;p14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74" name="Google Shape;11774;p14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75" name="Google Shape;11775;p14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76" name="Google Shape;11776;p14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77" name="Google Shape;11777;p14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78" name="Google Shape;11778;p14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779" name="Google Shape;11779;p14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80" name="Google Shape;11780;p14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81" name="Google Shape;11781;p14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82" name="Google Shape;11782;p14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783" name="Google Shape;11783;p14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784" name="Google Shape;11784;p144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117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86" name="Google Shape;11786;p1442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87" name="Google Shape;11787;p1442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88" name="Google Shape;11788;p1442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89" name="Google Shape;11789;p1442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90" name="Google Shape;11790;p1442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91" name="Google Shape;11791;p1442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792" name="Google Shape;11792;p1442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93" name="Google Shape;11793;p1442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794" name="Google Shape;11794;p14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3">
    <p:spTree>
      <p:nvGrpSpPr>
        <p:cNvPr id="1" name="Shape 117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6" name="Google Shape;11796;p144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97" name="Google Shape;11797;p144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98" name="Google Shape;11798;p144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99" name="Google Shape;11799;p144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800" name="Google Shape;11800;p144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01" name="Google Shape;11801;p144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802" name="Google Shape;11802;p144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03" name="Google Shape;11803;p144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804" name="Google Shape;11804;p14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5">
    <p:spTree>
      <p:nvGrpSpPr>
        <p:cNvPr id="1" name="Shape 118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6" name="Google Shape;11806;p14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07" name="Google Shape;11807;p14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08" name="Google Shape;11808;p14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09" name="Google Shape;11809;p14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0" name="Google Shape;11810;p14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11" name="Google Shape;11811;p14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12" name="Google Shape;11812;p14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13" name="Google Shape;11813;p14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14" name="Google Shape;11814;p14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15" name="Google Shape;11815;p14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16" name="Google Shape;11816;p14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17" name="Google Shape;11817;p14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3">
    <p:spTree>
      <p:nvGrpSpPr>
        <p:cNvPr id="1" name="Shape 118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9" name="Google Shape;11819;p144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20" name="Google Shape;11820;p14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21" name="Google Shape;11821;p14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22" name="Google Shape;11822;p14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23" name="Google Shape;11823;p14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4" name="Google Shape;11824;p14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25" name="Google Shape;11825;p14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26" name="Google Shape;11826;p14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27" name="Google Shape;11827;p14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28" name="Google Shape;11828;p14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29" name="Google Shape;11829;p14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30" name="Google Shape;11830;p144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6">
    <p:spTree>
      <p:nvGrpSpPr>
        <p:cNvPr id="1" name="Shape 11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32" name="Google Shape;11832;p9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33" name="Google Shape;11833;p9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34" name="Google Shape;11834;p9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35" name="Google Shape;11835;p9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36" name="Google Shape;11836;p9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37" name="Google Shape;11837;p9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38" name="Google Shape;11838;p9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39" name="Google Shape;11839;p9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40" name="Google Shape;11840;p9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41" name="Google Shape;11841;p9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42" name="Google Shape;11842;p9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43" name="Google Shape;11843;p9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7">
    <p:spTree>
      <p:nvGrpSpPr>
        <p:cNvPr id="1" name="Shape 1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45" name="Google Shape;11845;p144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46" name="Google Shape;11846;p144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47" name="Google Shape;11847;p144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48" name="Google Shape;11848;p14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49" name="Google Shape;11849;p14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50" name="Google Shape;11850;p14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51" name="Google Shape;11851;p14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52" name="Google Shape;11852;p14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53" name="Google Shape;11853;p14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54" name="Google Shape;11854;p14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55" name="Google Shape;11855;p14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56" name="Google Shape;11856;p144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8">
    <p:spTree>
      <p:nvGrpSpPr>
        <p:cNvPr id="1" name="Shape 118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58" name="Google Shape;11858;p14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59" name="Google Shape;11859;p14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60" name="Google Shape;11860;p14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61" name="Google Shape;11861;p14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62" name="Google Shape;11862;p14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63" name="Google Shape;11863;p14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64" name="Google Shape;11864;p14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65" name="Google Shape;11865;p14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66" name="Google Shape;11866;p14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67" name="Google Shape;11867;p14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68" name="Google Shape;11868;p14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69" name="Google Shape;11869;p144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18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75" name="Google Shape;11875;p67"/>
          <p:cNvGrpSpPr/>
          <p:nvPr/>
        </p:nvGrpSpPr>
        <p:grpSpPr>
          <a:xfrm>
            <a:off x="7191203" y="2"/>
            <a:ext cx="5000223" cy="1425925"/>
            <a:chOff x="7191203" y="1"/>
            <a:chExt cx="5000223" cy="1425925"/>
          </a:xfrm>
        </p:grpSpPr>
        <p:pic>
          <p:nvPicPr>
            <p:cNvPr id="11876" name="Google Shape;11876;p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6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77" name="Google Shape;11877;p6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878" name="Google Shape;11878;p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67"/>
                  <a:buFont typeface="Arial"/>
                  <a:buNone/>
                </a:pPr>
                <a:endParaRPr sz="1867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79" name="Google Shape;11879;p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67"/>
                  <a:buFont typeface="Arial"/>
                  <a:buNone/>
                </a:pPr>
                <a:endParaRPr sz="1867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80" name="Google Shape;11880;p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881" name="Google Shape;11881;p6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●"/>
              <a:defRPr/>
            </a:lvl1pPr>
            <a:lvl2pPr marL="914400" lvl="1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6pPr>
            <a:lvl7pPr marL="3200400" lvl="6" indent="-3175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7pPr>
            <a:lvl8pPr marL="3657600" lvl="7" indent="-3175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8pPr>
            <a:lvl9pPr marL="4114800" lvl="8" indent="-317500" algn="l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882" name="Google Shape;11882;p6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83" name="Google Shape;11883;p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84" name="Google Shape;11884;p67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1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86" name="Google Shape;11886;p1126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887" name="Google Shape;11887;p1126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1888" name="Google Shape;11888;p112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5" name="Google Shape;1225;p1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26" name="Google Shape;1226;p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27" name="Google Shape;1227;p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28" name="Google Shape;1228;p1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29" name="Google Shape;1229;p1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0" name="Google Shape;1230;p1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31" name="Google Shape;1231;p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2" name="Google Shape;1232;p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1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0" name="Google Shape;11890;p1127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1891" name="Google Shape;11891;p112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1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3" name="Google Shape;11893;p1128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894" name="Google Shape;11894;p112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895" name="Google Shape;11895;p112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118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7" name="Google Shape;11897;p1129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898" name="Google Shape;11898;p1129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1899" name="Google Shape;11899;p1129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1900" name="Google Shape;11900;p112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1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02" name="Google Shape;11902;p113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903" name="Google Shape;11903;p113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1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05" name="Google Shape;11905;p1131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1906" name="Google Shape;11906;p1131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1907" name="Google Shape;11907;p113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19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09" name="Google Shape;11909;p1132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11910" name="Google Shape;11910;p113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1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12" name="Google Shape;11912;p1133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33"/>
              <a:buFont typeface="Arial"/>
              <a:buNone/>
            </a:pPr>
            <a:endParaRPr sz="2533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13" name="Google Shape;11913;p1133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11914" name="Google Shape;11914;p1133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1915" name="Google Shape;11915;p1133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916" name="Google Shape;11916;p113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1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18" name="Google Shape;11918;p1134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11919" name="Google Shape;11919;p113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11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21" name="Google Shape;11921;p1135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11922" name="Google Shape;11922;p1135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923" name="Google Shape;11923;p113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1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25" name="Google Shape;11925;p113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1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" name="Google Shape;1234;p1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5" name="Google Shape;1235;p1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6" name="Google Shape;1236;p1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7" name="Google Shape;1237;p1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8" name="Google Shape;1238;p1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9" name="Google Shape;1239;p1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40" name="Google Shape;1240;p1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41" name="Google Shape;1241;p1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42" name="Google Shape;1242;p1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43" name="Google Shape;1243;p1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4" name="Google Shape;1244;p1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45" name="Google Shape;1245;p1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" name="Google Shape;1247;p12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8" name="Google Shape;1248;p12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9" name="Google Shape;1249;p12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0" name="Google Shape;1250;p12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1" name="Google Shape;1251;p12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2" name="Google Shape;1252;p12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53" name="Google Shape;1253;p12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54" name="Google Shape;1254;p12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5" name="Google Shape;1255;p12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56" name="Google Shape;1256;p12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7" name="Google Shape;1257;p12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58" name="Google Shape;1258;p12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1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0" name="Google Shape;1260;p121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1" name="Google Shape;1261;p1214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2" name="Google Shape;1262;p12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263" name="Google Shape;1263;p1214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4" name="Google Shape;1264;p12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265" name="Google Shape;1265;p121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6" name="Google Shape;1266;p121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7" name="Google Shape;1267;p121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8" name="Google Shape;1268;p12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9" name="Google Shape;1269;p121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0" name="Google Shape;1270;p12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07627381"/>
      </p:ext>
    </p:extLst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25529909"/>
      </p:ext>
    </p:extLst>
  </p:cSld>
  <p:clrMapOvr>
    <a:masterClrMapping/>
  </p:clrMapOvr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124597"/>
      </p:ext>
    </p:extLst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054201"/>
      </p:ext>
    </p:extLst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8539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6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" name="Google Shape;135;p6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6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7" name="Google Shape;137;p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8" name="Google Shape;138;p6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9" name="Google Shape;139;p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140;p6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1" name="Google Shape;141;p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1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" name="Google Shape;1272;p121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3" name="Google Shape;1273;p121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4" name="Google Shape;1274;p121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5" name="Google Shape;1275;p12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76" name="Google Shape;1276;p12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77" name="Google Shape;1277;p12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78" name="Google Shape;1278;p12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79" name="Google Shape;1279;p12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80" name="Google Shape;1280;p12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81" name="Google Shape;1281;p12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2" name="Google Shape;1282;p12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83" name="Google Shape;1283;p121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5908924"/>
      </p:ext>
    </p:extLst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496730"/>
      </p:ext>
    </p:extLst>
  </p:cSld>
  <p:clrMapOvr>
    <a:masterClrMapping/>
  </p:clrMapOvr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68663874"/>
      </p:ext>
    </p:extLst>
  </p:cSld>
  <p:clrMapOvr>
    <a:masterClrMapping/>
  </p:clrMapOvr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48977494"/>
      </p:ext>
    </p:extLst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183470"/>
      </p:ext>
    </p:extLst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91280603"/>
      </p:ext>
    </p:extLst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9878974"/>
      </p:ext>
    </p:extLst>
  </p:cSld>
  <p:clrMapOvr>
    <a:masterClrMapping/>
  </p:clrMapOvr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250894"/>
      </p:ext>
    </p:extLst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04376408"/>
      </p:ext>
    </p:extLst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24846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1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" name="Google Shape;1285;p121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6" name="Google Shape;1286;p121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7" name="Google Shape;1287;p121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8" name="Google Shape;1288;p12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89" name="Google Shape;1289;p12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90" name="Google Shape;1290;p12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91" name="Google Shape;1291;p12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2" name="Google Shape;1292;p12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93" name="Google Shape;1293;p12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94" name="Google Shape;1294;p12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5" name="Google Shape;1295;p12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96" name="Google Shape;1296;p121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769832"/>
      </p:ext>
    </p:extLst>
  </p:cSld>
  <p:clrMapOvr>
    <a:masterClrMapping/>
  </p:clrMapOvr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71030571"/>
      </p:ext>
    </p:extLst>
  </p:cSld>
  <p:clrMapOvr>
    <a:masterClrMapping/>
  </p:clrMapOvr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80896272"/>
      </p:ext>
    </p:extLst>
  </p:cSld>
  <p:clrMapOvr>
    <a:masterClrMapping/>
  </p:clrMapOvr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90366374"/>
      </p:ext>
    </p:extLst>
  </p:cSld>
  <p:clrMapOvr>
    <a:masterClrMapping/>
  </p:clrMapOvr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82500568"/>
      </p:ext>
    </p:extLst>
  </p:cSld>
  <p:clrMapOvr>
    <a:masterClrMapping/>
  </p:clrMapOvr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42701"/>
      </p:ext>
    </p:extLst>
  </p:cSld>
  <p:clrMapOvr>
    <a:masterClrMapping/>
  </p:clrMapOvr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2344193"/>
      </p:ext>
    </p:extLst>
  </p:cSld>
  <p:clrMapOvr>
    <a:masterClrMapping/>
  </p:clrMapOvr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75093619"/>
      </p:ext>
    </p:extLst>
  </p:cSld>
  <p:clrMapOvr>
    <a:masterClrMapping/>
  </p:clrMapOvr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8642817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8" name="Google Shape;1298;p12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9" name="Google Shape;1299;p12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0" name="Google Shape;1300;p12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1" name="Google Shape;1301;p12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2" name="Google Shape;1302;p1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03" name="Google Shape;1303;p1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04" name="Google Shape;1304;p12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05" name="Google Shape;1305;p12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6" name="Google Shape;1306;p12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07" name="Google Shape;1307;p1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8" name="Google Shape;1308;p1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09" name="Google Shape;1309;p12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38215367"/>
      </p:ext>
    </p:extLst>
  </p:cSld>
  <p:clrMapOvr>
    <a:masterClrMapping/>
  </p:clrMapOvr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8680304"/>
      </p:ext>
    </p:extLst>
  </p:cSld>
  <p:clrMapOvr>
    <a:masterClrMapping/>
  </p:clrMapOvr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1" name="Google Shape;1311;p12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2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3" name="Google Shape;1313;p12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4" name="Google Shape;1314;p12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5" name="Google Shape;1315;p12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6" name="Google Shape;1316;p12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17" name="Google Shape;1317;p12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18" name="Google Shape;1318;p12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19" name="Google Shape;1319;p12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20" name="Google Shape;1320;p12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1" name="Google Shape;1321;p12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22" name="Google Shape;1322;p12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4" name="Google Shape;1324;p12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5" name="Google Shape;1325;p12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" name="Google Shape;1326;p12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7" name="Google Shape;1327;p12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28" name="Google Shape;1328;p12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9" name="Google Shape;1329;p12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30" name="Google Shape;1330;p12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31" name="Google Shape;1331;p12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2" name="Google Shape;1332;p12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3" name="Google Shape;1333;p12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4" name="Google Shape;1334;p12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35" name="Google Shape;1335;p121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Google Shape;1337;p122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122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9" name="Google Shape;1339;p122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40" name="Google Shape;1340;p122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41" name="Google Shape;1341;p122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42" name="Google Shape;1342;p122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3" name="Google Shape;1343;p122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44" name="Google Shape;1344;p12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87674769"/>
      </p:ext>
    </p:extLst>
  </p:cSld>
  <p:clrMapOvr>
    <a:masterClrMapping/>
  </p:clrMapOvr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095975"/>
      </p:ext>
    </p:extLst>
  </p:cSld>
  <p:clrMapOvr>
    <a:masterClrMapping/>
  </p:clrMapOvr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082594"/>
      </p:ext>
    </p:extLst>
  </p:cSld>
  <p:clrMapOvr>
    <a:masterClrMapping/>
  </p:clrMapOvr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31478961"/>
      </p:ext>
    </p:extLst>
  </p:cSld>
  <p:clrMapOvr>
    <a:masterClrMapping/>
  </p:clrMapOvr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73389247"/>
      </p:ext>
    </p:extLst>
  </p:cSld>
  <p:clrMapOvr>
    <a:masterClrMapping/>
  </p:clrMapOvr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86529176"/>
      </p:ext>
    </p:extLst>
  </p:cSld>
  <p:clrMapOvr>
    <a:masterClrMapping/>
  </p:clrMapOvr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3345587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6" name="Google Shape;1346;p122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347" name="Google Shape;1347;p122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8" name="Google Shape;1348;p122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9" name="Google Shape;1349;p122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50" name="Google Shape;1350;p12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51" name="Google Shape;1351;p122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2" name="Google Shape;1352;p122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95139207"/>
      </p:ext>
    </p:extLst>
  </p:cSld>
  <p:clrMapOvr>
    <a:masterClrMapping/>
  </p:clrMapOvr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16350041"/>
      </p:ext>
    </p:extLst>
  </p:cSld>
  <p:clrMapOvr>
    <a:masterClrMapping/>
  </p:clrMapOvr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57570421"/>
      </p:ext>
    </p:extLst>
  </p:cSld>
  <p:clrMapOvr>
    <a:masterClrMapping/>
  </p:clrMapOvr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8759244"/>
      </p:ext>
    </p:extLst>
  </p:cSld>
  <p:clrMapOvr>
    <a:masterClrMapping/>
  </p:clrMapOvr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5075027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22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55" name="Google Shape;1355;p122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56" name="Google Shape;1356;p122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357" name="Google Shape;1357;p122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8" name="Google Shape;1358;p122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59" name="Google Shape;1359;p122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360" name="Google Shape;1360;p12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1811000"/>
      </p:ext>
    </p:extLst>
  </p:cSld>
  <p:clrMapOvr>
    <a:masterClrMapping/>
  </p:clrMapOvr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150549"/>
      </p:ext>
    </p:extLst>
  </p:cSld>
  <p:clrMapOvr>
    <a:masterClrMapping/>
  </p:clrMapOvr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6964853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2" name="Google Shape;1362;p12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3" name="Google Shape;1363;p12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2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5" name="Google Shape;1365;p12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6" name="Google Shape;1366;p12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67" name="Google Shape;1367;p12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68" name="Google Shape;1368;p12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69" name="Google Shape;1369;p12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0" name="Google Shape;1370;p12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1" name="Google Shape;1371;p12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2" name="Google Shape;1372;p12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73" name="Google Shape;1373;p122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09513238"/>
      </p:ext>
    </p:extLst>
  </p:cSld>
  <p:clrMapOvr>
    <a:masterClrMapping/>
  </p:clrMapOvr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61287488"/>
      </p:ext>
    </p:extLst>
  </p:cSld>
  <p:clrMapOvr>
    <a:masterClrMapping/>
  </p:clrMapOvr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451303"/>
      </p:ext>
    </p:extLst>
  </p:cSld>
  <p:clrMapOvr>
    <a:masterClrMapping/>
  </p:clrMapOvr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09067655"/>
      </p:ext>
    </p:extLst>
  </p:cSld>
  <p:clrMapOvr>
    <a:masterClrMapping/>
  </p:clrMapOvr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1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5" name="Google Shape;1375;p12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76" name="Google Shape;1376;p12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7" name="Google Shape;1377;p12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8" name="Google Shape;1378;p12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9" name="Google Shape;1379;p12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80" name="Google Shape;1380;p12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1" name="Google Shape;1381;p12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2" name="Google Shape;1382;p12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83" name="Google Shape;1383;p12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4" name="Google Shape;1384;p12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95306445"/>
      </p:ext>
    </p:extLst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09228368"/>
      </p:ext>
    </p:extLst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79266547"/>
      </p:ext>
    </p:extLst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12033230"/>
      </p:ext>
    </p:extLst>
  </p:cSld>
  <p:clrMapOvr>
    <a:masterClrMapping/>
  </p:clrMapOvr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52298539"/>
      </p:ext>
    </p:extLst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" name="Google Shape;143;p6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4" name="Google Shape;144;p6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145;p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146;p6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7" name="Google Shape;147;p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8" name="Google Shape;148;p6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6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6" name="Google Shape;1386;p12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7" name="Google Shape;1387;p12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88" name="Google Shape;1388;p12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89" name="Google Shape;1389;p12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0" name="Google Shape;1390;p12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1" name="Google Shape;1391;p12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2" name="Google Shape;1392;p12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93" name="Google Shape;1393;p122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4" name="Google Shape;1394;p122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95" name="Google Shape;1395;p12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6" name="Google Shape;1396;p12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39331607"/>
      </p:ext>
    </p:extLst>
  </p:cSld>
  <p:clrMapOvr>
    <a:masterClrMapping/>
  </p:clrMapOvr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99897487"/>
      </p:ext>
    </p:extLst>
  </p:cSld>
  <p:clrMapOvr>
    <a:masterClrMapping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75454196"/>
      </p:ext>
    </p:extLst>
  </p:cSld>
  <p:clrMapOvr>
    <a:masterClrMapping/>
  </p:clrMapOvr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38345833"/>
      </p:ext>
    </p:extLst>
  </p:cSld>
  <p:clrMapOvr>
    <a:masterClrMapping/>
  </p:clrMapOvr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67324077"/>
      </p:ext>
    </p:extLst>
  </p:cSld>
  <p:clrMapOvr>
    <a:masterClrMapping/>
  </p:clrMapOvr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8" name="Google Shape;1398;p12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99" name="Google Shape;1399;p12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00" name="Google Shape;1400;p12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01" name="Google Shape;1401;p12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2" name="Google Shape;1402;p12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03" name="Google Shape;1403;p12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4" name="Google Shape;1404;p122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05" name="Google Shape;1405;p122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6" name="Google Shape;1406;p122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07" name="Google Shape;1407;p122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8" name="Google Shape;1408;p12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09" name="Google Shape;1409;p12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0" name="Google Shape;1410;p12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2" name="Google Shape;1412;p12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13" name="Google Shape;1413;p12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14" name="Google Shape;1414;p12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15" name="Google Shape;1415;p12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6" name="Google Shape;1416;p12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17" name="Google Shape;1417;p12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8" name="Google Shape;1418;p12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19" name="Google Shape;1419;p12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0" name="Google Shape;1420;p12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22857467"/>
      </p:ext>
    </p:extLst>
  </p:cSld>
  <p:clrMapOvr>
    <a:masterClrMapping/>
  </p:clrMapOvr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1601183"/>
      </p:ext>
    </p:extLst>
  </p:cSld>
  <p:clrMapOvr>
    <a:masterClrMapping/>
  </p:clrMapOvr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0475131"/>
      </p:ext>
    </p:extLst>
  </p:cSld>
  <p:clrMapOvr>
    <a:masterClrMapping/>
  </p:clrMapOvr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1785748"/>
      </p:ext>
    </p:extLst>
  </p:cSld>
  <p:clrMapOvr>
    <a:masterClrMapping/>
  </p:clrMapOvr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71152544"/>
      </p:ext>
    </p:extLst>
  </p:cSld>
  <p:clrMapOvr>
    <a:masterClrMapping/>
  </p:clrMapOvr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4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2" name="Google Shape;1422;p122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23" name="Google Shape;1423;p122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4" name="Google Shape;1424;p122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25" name="Google Shape;1425;p122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6" name="Google Shape;1426;p122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7" name="Google Shape;1427;p122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28" name="Google Shape;1428;p12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29" name="Google Shape;1429;p12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5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237260"/>
      </p:ext>
    </p:extLst>
  </p:cSld>
  <p:clrMapOvr>
    <a:masterClrMapping/>
  </p:clrMapOvr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1" name="Google Shape;1431;p12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32" name="Google Shape;1432;p12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33" name="Google Shape;1433;p12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34" name="Google Shape;1434;p12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35" name="Google Shape;1435;p12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6" name="Google Shape;1436;p12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37" name="Google Shape;1437;p12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8" name="Google Shape;1438;p12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812348"/>
      </p:ext>
    </p:extLst>
  </p:cSld>
  <p:clrMapOvr>
    <a:masterClrMapping/>
  </p:clrMapOvr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7423319"/>
      </p:ext>
    </p:extLst>
  </p:cSld>
  <p:clrMapOvr>
    <a:masterClrMapping/>
  </p:clrMapOvr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10654120"/>
      </p:ext>
    </p:extLst>
  </p:cSld>
  <p:clrMapOvr>
    <a:masterClrMapping/>
  </p:clrMapOvr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93158206"/>
      </p:ext>
    </p:extLst>
  </p:cSld>
  <p:clrMapOvr>
    <a:masterClrMapping/>
  </p:clrMapOvr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47572869"/>
      </p:ext>
    </p:extLst>
  </p:cSld>
  <p:clrMapOvr>
    <a:masterClrMapping/>
  </p:clrMapOvr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43076225"/>
      </p:ext>
    </p:extLst>
  </p:cSld>
  <p:clrMapOvr>
    <a:masterClrMapping/>
  </p:clrMapOvr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5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682452"/>
      </p:ext>
    </p:extLst>
  </p:cSld>
  <p:clrMapOvr>
    <a:masterClrMapping/>
  </p:clrMapOvr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0" name="Google Shape;1440;p19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1" name="Google Shape;1441;p19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2" name="Google Shape;1442;p19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43" name="Google Shape;1443;p1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44" name="Google Shape;1444;p19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45" name="Google Shape;1445;p1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6" name="Google Shape;1446;p19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47" name="Google Shape;1447;p1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0338407"/>
      </p:ext>
    </p:extLst>
  </p:cSld>
  <p:clrMapOvr>
    <a:masterClrMapping/>
  </p:clrMapOvr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60105788"/>
      </p:ext>
    </p:extLst>
  </p:cSld>
  <p:clrMapOvr>
    <a:masterClrMapping/>
  </p:clrMapOvr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37644200"/>
      </p:ext>
    </p:extLst>
  </p:cSld>
  <p:clrMapOvr>
    <a:masterClrMapping/>
  </p:clrMapOvr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02728419"/>
      </p:ext>
    </p:extLst>
  </p:cSld>
  <p:clrMapOvr>
    <a:masterClrMapping/>
  </p:clrMapOvr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39095747"/>
      </p:ext>
    </p:extLst>
  </p:cSld>
  <p:clrMapOvr>
    <a:masterClrMapping/>
  </p:clrMapOvr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4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9" name="Google Shape;1449;p19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50" name="Google Shape;1450;p19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1" name="Google Shape;1451;p19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2" name="Google Shape;1452;p19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53" name="Google Shape;1453;p1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54" name="Google Shape;1454;p19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5" name="Google Shape;1455;p19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7" name="Google Shape;1457;p19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58" name="Google Shape;1458;p19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59" name="Google Shape;1459;p19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60" name="Google Shape;1460;p19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1" name="Google Shape;1461;p19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62" name="Google Shape;1462;p19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63" name="Google Shape;1463;p1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5834463"/>
      </p:ext>
    </p:extLst>
  </p:cSld>
  <p:clrMapOvr>
    <a:masterClrMapping/>
  </p:clrMapOvr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9164570"/>
      </p:ext>
    </p:extLst>
  </p:cSld>
  <p:clrMapOvr>
    <a:masterClrMapping/>
  </p:clrMapOvr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852348"/>
      </p:ext>
    </p:extLst>
  </p:cSld>
  <p:clrMapOvr>
    <a:masterClrMapping/>
  </p:clrMapOvr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0637423"/>
      </p:ext>
    </p:extLst>
  </p:cSld>
  <p:clrMapOvr>
    <a:masterClrMapping/>
  </p:clrMapOvr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71445685"/>
      </p:ext>
    </p:extLst>
  </p:cSld>
  <p:clrMapOvr>
    <a:masterClrMapping/>
  </p:clrMapOvr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54322527"/>
      </p:ext>
    </p:extLst>
  </p:cSld>
  <p:clrMapOvr>
    <a:masterClrMapping/>
  </p:clrMapOvr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463778"/>
      </p:ext>
    </p:extLst>
  </p:cSld>
  <p:clrMapOvr>
    <a:masterClrMapping/>
  </p:clrMapOvr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5362731"/>
      </p:ext>
    </p:extLst>
  </p:cSld>
  <p:clrMapOvr>
    <a:masterClrMapping/>
  </p:clrMapOvr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76758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1">
    <p:spTree>
      <p:nvGrpSpPr>
        <p:cNvPr id="1" name="Shape 1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5" name="Google Shape;1465;p19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6" name="Google Shape;1466;p1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7" name="Google Shape;1467;p1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8" name="Google Shape;1468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9" name="Google Shape;1469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0" name="Google Shape;1470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71" name="Google Shape;1471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2" name="Google Shape;1472;p1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73" name="Google Shape;1473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74" name="Google Shape;1474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5" name="Google Shape;1475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76" name="Google Shape;1476;p19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3314712"/>
      </p:ext>
    </p:extLst>
  </p:cSld>
  <p:clrMapOvr>
    <a:masterClrMapping/>
  </p:clrMapOvr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673439"/>
      </p:ext>
    </p:extLst>
  </p:cSld>
  <p:clrMapOvr>
    <a:masterClrMapping/>
  </p:clrMapOvr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">
    <p:spTree>
      <p:nvGrpSpPr>
        <p:cNvPr id="1" name="Shape 1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8" name="Google Shape;1478;p1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9" name="Google Shape;1479;p1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0" name="Google Shape;1480;p1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1" name="Google Shape;1481;p1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2" name="Google Shape;1482;p1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83" name="Google Shape;1483;p1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4" name="Google Shape;1484;p1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5" name="Google Shape;1485;p1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86" name="Google Shape;1486;p1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87" name="Google Shape;1487;p1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8865858"/>
      </p:ext>
    </p:extLst>
  </p:cSld>
  <p:clrMapOvr>
    <a:masterClrMapping/>
  </p:clrMapOvr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868579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7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2" name="Google Shape;152;p7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3" name="Google Shape;153;p7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4" name="Google Shape;154;p7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7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6" name="Google Shape;156;p7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7" name="Google Shape;157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9" name="Google Shape;1489;p1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0" name="Google Shape;1490;p19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91" name="Google Shape;1491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92" name="Google Shape;1492;p1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3" name="Google Shape;1493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94" name="Google Shape;1494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5" name="Google Shape;1495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96" name="Google Shape;1496;p19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7" name="Google Shape;1497;p19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98" name="Google Shape;1498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9" name="Google Shape;1499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691361"/>
      </p:ext>
    </p:extLst>
  </p:cSld>
  <p:clrMapOvr>
    <a:masterClrMapping/>
  </p:clrMapOvr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312824"/>
      </p:ext>
    </p:extLst>
  </p:cSld>
  <p:clrMapOvr>
    <a:masterClrMapping/>
  </p:clrMapOvr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90547514"/>
      </p:ext>
    </p:extLst>
  </p:cSld>
  <p:clrMapOvr>
    <a:masterClrMapping/>
  </p:clrMapOvr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7656894"/>
      </p:ext>
    </p:extLst>
  </p:cSld>
  <p:clrMapOvr>
    <a:masterClrMapping/>
  </p:clrMapOvr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75020104"/>
      </p:ext>
    </p:extLst>
  </p:cSld>
  <p:clrMapOvr>
    <a:masterClrMapping/>
  </p:clrMapOvr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4850343"/>
      </p:ext>
    </p:extLst>
  </p:cSld>
  <p:clrMapOvr>
    <a:masterClrMapping/>
  </p:clrMapOvr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38760"/>
      </p:ext>
    </p:extLst>
  </p:cSld>
  <p:clrMapOvr>
    <a:masterClrMapping/>
  </p:clrMapOvr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7725924"/>
      </p:ext>
    </p:extLst>
  </p:cSld>
  <p:clrMapOvr>
    <a:masterClrMapping/>
  </p:clrMapOvr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94785603"/>
      </p:ext>
    </p:extLst>
  </p:cSld>
  <p:clrMapOvr>
    <a:masterClrMapping/>
  </p:clrMapOvr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3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2361837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1" name="Google Shape;1501;p1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02" name="Google Shape;1502;p1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03" name="Google Shape;1503;p1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4" name="Google Shape;1504;p1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5" name="Google Shape;1505;p1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06" name="Google Shape;1506;p1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7" name="Google Shape;1507;p19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08" name="Google Shape;1508;p19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9" name="Google Shape;1509;p19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10" name="Google Shape;1510;p19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1" name="Google Shape;1511;p1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2" name="Google Shape;1512;p1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3" name="Google Shape;1513;p1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2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45003667"/>
      </p:ext>
    </p:extLst>
  </p:cSld>
  <p:clrMapOvr>
    <a:masterClrMapping/>
  </p:clrMapOvr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6448374"/>
      </p:ext>
    </p:extLst>
  </p:cSld>
  <p:clrMapOvr>
    <a:masterClrMapping/>
  </p:clrMapOvr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121594"/>
      </p:ext>
    </p:extLst>
  </p:cSld>
  <p:clrMapOvr>
    <a:masterClrMapping/>
  </p:clrMapOvr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354558"/>
      </p:ext>
    </p:extLst>
  </p:cSld>
  <p:clrMapOvr>
    <a:masterClrMapping/>
  </p:clrMapOvr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84807223"/>
      </p:ext>
    </p:extLst>
  </p:cSld>
  <p:clrMapOvr>
    <a:masterClrMapping/>
  </p:clrMapOvr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458419"/>
      </p:ext>
    </p:extLst>
  </p:cSld>
  <p:clrMapOvr>
    <a:masterClrMapping/>
  </p:clrMapOvr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325167"/>
      </p:ext>
    </p:extLst>
  </p:cSld>
  <p:clrMapOvr>
    <a:masterClrMapping/>
  </p:clrMapOvr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627579494"/>
      </p:ext>
    </p:extLst>
  </p:cSld>
  <p:clrMapOvr>
    <a:masterClrMapping/>
  </p:clrMapOvr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000463"/>
      </p:ext>
    </p:extLst>
  </p:cSld>
  <p:clrMapOvr>
    <a:masterClrMapping/>
  </p:clrMapOvr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08196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5" name="Google Shape;1515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" name="Google Shape;1516;p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7" name="Google Shape;1517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" name="Google Shape;1518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" name="Google Shape;1519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0" name="Google Shape;1520;p1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1" name="Google Shape;1521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22" name="Google Shape;1522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3" name="Google Shape;1523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88397586"/>
      </p:ext>
    </p:extLst>
  </p:cSld>
  <p:clrMapOvr>
    <a:masterClrMapping/>
  </p:clrMapOvr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152258"/>
      </p:ext>
    </p:extLst>
  </p:cSld>
  <p:clrMapOvr>
    <a:masterClrMapping/>
  </p:clrMapOvr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6196770"/>
      </p:ext>
    </p:extLst>
  </p:cSld>
  <p:clrMapOvr>
    <a:masterClrMapping/>
  </p:clrMapOvr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67963876"/>
      </p:ext>
    </p:extLst>
  </p:cSld>
  <p:clrMapOvr>
    <a:masterClrMapping/>
  </p:clrMapOvr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77239861"/>
      </p:ext>
    </p:extLst>
  </p:cSld>
  <p:clrMapOvr>
    <a:masterClrMapping/>
  </p:clrMapOvr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2601927"/>
      </p:ext>
    </p:extLst>
  </p:cSld>
  <p:clrMapOvr>
    <a:masterClrMapping/>
  </p:clrMapOvr>
</p:sldLayout>
</file>

<file path=ppt/slideLayouts/slideLayout1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4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4149437"/>
      </p:ext>
    </p:extLst>
  </p:cSld>
  <p:clrMapOvr>
    <a:masterClrMapping/>
  </p:clrMapOvr>
</p:sldLayout>
</file>

<file path=ppt/slideLayouts/slideLayout14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14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79903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5" name="Google Shape;1525;p19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26" name="Google Shape;1526;p19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7" name="Google Shape;1527;p19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28" name="Google Shape;1528;p19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9" name="Google Shape;1529;p19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0" name="Google Shape;1530;p19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31" name="Google Shape;1531;p1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32" name="Google Shape;1532;p1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14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4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4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4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4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4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4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4" name="Google Shape;1534;p2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5" name="Google Shape;1535;p2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6" name="Google Shape;1536;p2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37" name="Google Shape;1537;p2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8" name="Google Shape;1538;p2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9" name="Google Shape;1539;p2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0" name="Google Shape;1540;p2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1" name="Google Shape;1541;p2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14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4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4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4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4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4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4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4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4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4">
    <p:spTree>
      <p:nvGrpSpPr>
        <p:cNvPr id="1" name="Shape 1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3" name="Google Shape;1543;p2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4" name="Google Shape;1544;p2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5" name="Google Shape;1545;p2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6" name="Google Shape;1546;p2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7" name="Google Shape;1547;p2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8" name="Google Shape;1548;p2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49" name="Google Shape;1549;p2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50" name="Google Shape;1550;p2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51" name="Google Shape;1551;p2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52" name="Google Shape;1552;p2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3" name="Google Shape;1553;p2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54" name="Google Shape;1554;p2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4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4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4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4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4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4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" name="Google Shape;1556;p2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7" name="Google Shape;1557;p2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8" name="Google Shape;1558;p2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9" name="Google Shape;1559;p2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0" name="Google Shape;1560;p2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1" name="Google Shape;1561;p2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62" name="Google Shape;1562;p2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3" name="Google Shape;1563;p2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4" name="Google Shape;1564;p2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5" name="Google Shape;1565;p2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6" name="Google Shape;1566;p2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67" name="Google Shape;1567;p2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4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14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20603760"/>
      </p:ext>
    </p:extLst>
  </p:cSld>
  <p:clrMapOvr>
    <a:masterClrMapping/>
  </p:clrMapOvr>
</p:sldLayout>
</file>

<file path=ppt/slideLayouts/slideLayout14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60523834"/>
      </p:ext>
    </p:extLst>
  </p:cSld>
  <p:clrMapOvr>
    <a:masterClrMapping/>
  </p:clrMapOvr>
</p:sldLayout>
</file>

<file path=ppt/slideLayouts/slideLayout14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36520399"/>
      </p:ext>
    </p:extLst>
  </p:cSld>
  <p:clrMapOvr>
    <a:masterClrMapping/>
  </p:clrMapOvr>
</p:sldLayout>
</file>

<file path=ppt/slideLayouts/slideLayout14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57603392"/>
      </p:ext>
    </p:extLst>
  </p:cSld>
  <p:clrMapOvr>
    <a:masterClrMapping/>
  </p:clrMapOvr>
</p:sldLayout>
</file>

<file path=ppt/slideLayouts/slideLayout1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p20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0" name="Google Shape;1570;p20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1" name="Google Shape;1571;p20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72" name="Google Shape;1572;p20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73" name="Google Shape;1573;p20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74" name="Google Shape;1574;p20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5" name="Google Shape;1575;p20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76" name="Google Shape;1576;p2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17870405"/>
      </p:ext>
    </p:extLst>
  </p:cSld>
  <p:clrMapOvr>
    <a:masterClrMapping/>
  </p:clrMapOvr>
</p:sldLayout>
</file>

<file path=ppt/slideLayouts/slideLayout1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4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4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71719537"/>
      </p:ext>
    </p:extLst>
  </p:cSld>
  <p:clrMapOvr>
    <a:masterClrMapping/>
  </p:clrMapOvr>
</p:sldLayout>
</file>

<file path=ppt/slideLayouts/slideLayout14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4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69456336"/>
      </p:ext>
    </p:extLst>
  </p:cSld>
  <p:clrMapOvr>
    <a:masterClrMapping/>
  </p:clrMapOvr>
</p:sldLayout>
</file>

<file path=ppt/slideLayouts/slideLayout14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81937852"/>
      </p:ext>
    </p:extLst>
  </p:cSld>
  <p:clrMapOvr>
    <a:masterClrMapping/>
  </p:clrMapOvr>
</p:sldLayout>
</file>

<file path=ppt/slideLayouts/slideLayout14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4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9461530"/>
      </p:ext>
    </p:extLst>
  </p:cSld>
  <p:clrMapOvr>
    <a:masterClrMapping/>
  </p:clrMapOvr>
</p:sldLayout>
</file>

<file path=ppt/slideLayouts/slideLayout14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307856372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1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8" name="Google Shape;1578;p20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79" name="Google Shape;1579;p20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0" name="Google Shape;1580;p2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1" name="Google Shape;1581;p20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82" name="Google Shape;1582;p2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83" name="Google Shape;1583;p20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4" name="Google Shape;1584;p20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1530554"/>
      </p:ext>
    </p:extLst>
  </p:cSld>
  <p:clrMapOvr>
    <a:masterClrMapping/>
  </p:clrMapOvr>
</p:sldLayout>
</file>

<file path=ppt/slideLayouts/slideLayout1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417448"/>
      </p:ext>
    </p:extLst>
  </p:cSld>
  <p:clrMapOvr>
    <a:masterClrMapping/>
  </p:clrMapOvr>
</p:sldLayout>
</file>

<file path=ppt/slideLayouts/slideLayout14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1536062847"/>
      </p:ext>
    </p:extLst>
  </p:cSld>
  <p:clrMapOvr>
    <a:masterClrMapping/>
  </p:clrMapOvr>
</p:sldLayout>
</file>

<file path=ppt/slideLayouts/slideLayout14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4857908"/>
      </p:ext>
    </p:extLst>
  </p:cSld>
  <p:clrMapOvr>
    <a:masterClrMapping/>
  </p:clrMapOvr>
</p:sldLayout>
</file>

<file path=ppt/slideLayouts/slideLayout14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79558"/>
      </p:ext>
    </p:extLst>
  </p:cSld>
  <p:clrMapOvr>
    <a:masterClrMapping/>
  </p:clrMapOvr>
</p:sldLayout>
</file>

<file path=ppt/slideLayouts/slideLayout14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900573"/>
      </p:ext>
    </p:extLst>
  </p:cSld>
  <p:clrMapOvr>
    <a:masterClrMapping/>
  </p:clrMapOvr>
</p:sldLayout>
</file>

<file path=ppt/slideLayouts/slideLayout14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2/15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01700345"/>
      </p:ext>
    </p:extLst>
  </p:cSld>
  <p:clrMapOvr>
    <a:masterClrMapping/>
  </p:clrMapOvr>
</p:sldLayout>
</file>

<file path=ppt/slideLayouts/slideLayout14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2/15/20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29005421"/>
      </p:ext>
    </p:extLst>
  </p:cSld>
  <p:clrMapOvr>
    <a:masterClrMapping/>
  </p:clrMapOvr>
</p:sldLayout>
</file>

<file path=ppt/slideLayouts/slideLayout1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14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20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87" name="Google Shape;1587;p20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88" name="Google Shape;1588;p20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89" name="Google Shape;1589;p20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0" name="Google Shape;1590;p20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91" name="Google Shape;1591;p20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92" name="Google Shape;1592;p2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867560"/>
      </p:ext>
    </p:extLst>
  </p:cSld>
  <p:clrMapOvr>
    <a:masterClrMapping/>
  </p:clrMapOvr>
</p:sldLayout>
</file>

<file path=ppt/slideLayouts/slideLayout14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163589"/>
      </p:ext>
    </p:extLst>
  </p:cSld>
  <p:clrMapOvr>
    <a:masterClrMapping/>
  </p:clrMapOvr>
</p:sldLayout>
</file>

<file path=ppt/slideLayouts/slideLayout14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91977"/>
      </p:ext>
    </p:extLst>
  </p:cSld>
  <p:clrMapOvr>
    <a:masterClrMapping/>
  </p:clrMapOvr>
</p:sldLayout>
</file>

<file path=ppt/slideLayouts/slideLayout14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846356"/>
      </p:ext>
    </p:extLst>
  </p:cSld>
  <p:clrMapOvr>
    <a:masterClrMapping/>
  </p:clrMapOvr>
</p:sldLayout>
</file>

<file path=ppt/slideLayouts/slideLayout14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04960901"/>
      </p:ext>
    </p:extLst>
  </p:cSld>
  <p:clrMapOvr>
    <a:masterClrMapping/>
  </p:clrMapOvr>
</p:sldLayout>
</file>

<file path=ppt/slideLayouts/slideLayout14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42741506"/>
      </p:ext>
    </p:extLst>
  </p:cSld>
  <p:clrMapOvr>
    <a:masterClrMapping/>
  </p:clrMapOvr>
</p:sldLayout>
</file>

<file path=ppt/slideLayouts/slideLayout14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9061543"/>
      </p:ext>
    </p:extLst>
  </p:cSld>
  <p:clrMapOvr>
    <a:masterClrMapping/>
  </p:clrMapOvr>
</p:sldLayout>
</file>

<file path=ppt/slideLayouts/slideLayout14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26721667"/>
      </p:ext>
    </p:extLst>
  </p:cSld>
  <p:clrMapOvr>
    <a:masterClrMapping/>
  </p:clrMapOvr>
</p:sldLayout>
</file>

<file path=ppt/slideLayouts/slideLayout1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4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045688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" name="Google Shape;160;p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" name="Google Shape;162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3" name="Google Shape;163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" name="Google Shape;164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5" name="Google Shape;165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6" name="Google Shape;166;p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7" name="Google Shape;167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8" name="Google Shape;168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0" name="Google Shape;170;p7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2">
    <p:spTree>
      <p:nvGrpSpPr>
        <p:cNvPr id="1" name="Shape 1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4" name="Google Shape;1594;p2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5" name="Google Shape;1595;p2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6" name="Google Shape;1596;p2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7" name="Google Shape;1597;p2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98" name="Google Shape;1598;p2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99" name="Google Shape;1599;p2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00" name="Google Shape;1600;p2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01" name="Google Shape;1601;p2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2" name="Google Shape;1602;p2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03" name="Google Shape;1603;p2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4" name="Google Shape;1604;p2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05" name="Google Shape;1605;p20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6_Divider">
    <p:bg>
      <p:bgPr>
        <a:solidFill>
          <a:schemeClr val="lt2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5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" name="Google Shape;64;p5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65;p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66;p5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" name="Google Shape;67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8" name="Google Shape;68;p5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5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97845993"/>
      </p:ext>
    </p:extLst>
  </p:cSld>
  <p:clrMapOvr>
    <a:masterClrMapping/>
  </p:clrMapOvr>
</p:sldLayout>
</file>

<file path=ppt/slideLayouts/slideLayout1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A3686E6-74E2-FE49-AAC4-953D01F3F562}"/>
              </a:ext>
            </a:extLst>
          </p:cNvPr>
          <p:cNvCxnSpPr/>
          <p:nvPr userDrawn="1"/>
        </p:nvCxnSpPr>
        <p:spPr>
          <a:xfrm>
            <a:off x="1520055" y="350798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 dirty="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8570494"/>
      </p:ext>
    </p:extLst>
  </p:cSld>
  <p:clrMapOvr>
    <a:masterClrMapping/>
  </p:clrMapOvr>
</p:sldLayout>
</file>

<file path=ppt/slideLayouts/slideLayout1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 dirty="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9CB564A-C69C-944C-96FC-5B26C4A43C4A}"/>
              </a:ext>
            </a:extLst>
          </p:cNvPr>
          <p:cNvCxnSpPr/>
          <p:nvPr userDrawn="1"/>
        </p:nvCxnSpPr>
        <p:spPr>
          <a:xfrm>
            <a:off x="1520055" y="281181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6497308"/>
      </p:ext>
    </p:extLst>
  </p:cSld>
  <p:clrMapOvr>
    <a:masterClrMapping/>
  </p:clrMapOvr>
</p:sldLayout>
</file>

<file path=ppt/slideLayouts/slideLayout1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 dirty="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267988"/>
      </p:ext>
    </p:extLst>
  </p:cSld>
  <p:clrMapOvr>
    <a:masterClrMapping/>
  </p:clrMapOvr>
</p:sldLayout>
</file>

<file path=ppt/slideLayouts/slideLayout15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  <a:endParaRPr lang="en-US" dirty="0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3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0968"/>
      </p:ext>
    </p:extLst>
  </p:cSld>
  <p:clrMapOvr>
    <a:masterClrMapping/>
  </p:clrMapOvr>
</p:sldLayout>
</file>

<file path=ppt/slideLayouts/slideLayout15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77E4BD-558F-4F49-BCCC-8097ACDB3950}"/>
              </a:ext>
            </a:extLst>
          </p:cNvPr>
          <p:cNvCxnSpPr/>
          <p:nvPr userDrawn="1"/>
        </p:nvCxnSpPr>
        <p:spPr>
          <a:xfrm>
            <a:off x="704315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263181"/>
      </p:ext>
    </p:extLst>
  </p:cSld>
  <p:clrMapOvr>
    <a:masterClrMapping/>
  </p:clrMapOvr>
</p:sldLayout>
</file>

<file path=ppt/slideLayouts/slideLayout15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9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54FD4E-2BB6-AE40-B89B-76CA55068800}"/>
              </a:ext>
            </a:extLst>
          </p:cNvPr>
          <p:cNvCxnSpPr/>
          <p:nvPr userDrawn="1"/>
        </p:nvCxnSpPr>
        <p:spPr>
          <a:xfrm>
            <a:off x="704315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973497"/>
      </p:ext>
    </p:extLst>
  </p:cSld>
  <p:clrMapOvr>
    <a:masterClrMapping/>
  </p:clrMapOvr>
</p:sldLayout>
</file>

<file path=ppt/slideLayouts/slideLayout15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318972"/>
      </p:ext>
    </p:extLst>
  </p:cSld>
  <p:clrMapOvr>
    <a:masterClrMapping/>
  </p:clrMapOvr>
</p:sldLayout>
</file>

<file path=ppt/slideLayouts/slideLayout15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BD2A368-37B4-AE41-8927-00C94D6431A1}"/>
              </a:ext>
            </a:extLst>
          </p:cNvPr>
          <p:cNvCxnSpPr/>
          <p:nvPr userDrawn="1"/>
        </p:nvCxnSpPr>
        <p:spPr>
          <a:xfrm>
            <a:off x="707293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9558820"/>
      </p:ext>
    </p:extLst>
  </p:cSld>
  <p:clrMapOvr>
    <a:masterClrMapping/>
  </p:clrMapOvr>
</p:sldLayout>
</file>

<file path=ppt/slideLayouts/slideLayout1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3A1B7DC-DAD7-F944-AC53-2FDB50DEA0A1}"/>
              </a:ext>
            </a:extLst>
          </p:cNvPr>
          <p:cNvCxnSpPr>
            <a:cxnSpLocks/>
          </p:cNvCxnSpPr>
          <p:nvPr userDrawn="1"/>
        </p:nvCxnSpPr>
        <p:spPr>
          <a:xfrm>
            <a:off x="1325947" y="3080084"/>
            <a:ext cx="685399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2" y="3429002"/>
            <a:ext cx="5582652" cy="1413563"/>
          </a:xfrm>
        </p:spPr>
        <p:txBody>
          <a:bodyPr numCol="2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219201" y="1887490"/>
            <a:ext cx="5582652" cy="1078262"/>
          </a:xfrm>
        </p:spPr>
        <p:txBody>
          <a:bodyPr>
            <a:norm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4966050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3">
    <p:spTree>
      <p:nvGrpSpPr>
        <p:cNvPr id="1" name="Shape 16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" name="Google Shape;1607;p2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8" name="Google Shape;1608;p2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9" name="Google Shape;1609;p2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0" name="Google Shape;1610;p2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11" name="Google Shape;1611;p2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12" name="Google Shape;1612;p2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13" name="Google Shape;1613;p2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14" name="Google Shape;1614;p2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15" name="Google Shape;1615;p2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6" name="Google Shape;1616;p2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7" name="Google Shape;1617;p2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18" name="Google Shape;1618;p20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92889719"/>
      </p:ext>
    </p:extLst>
  </p:cSld>
  <p:clrMapOvr>
    <a:masterClrMapping/>
  </p:clrMapOvr>
</p:sldLayout>
</file>

<file path=ppt/slideLayouts/slideLayout1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7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9A3468E-DF1F-A142-9123-E9C41E669E14}"/>
              </a:ext>
            </a:extLst>
          </p:cNvPr>
          <p:cNvCxnSpPr/>
          <p:nvPr userDrawn="1"/>
        </p:nvCxnSpPr>
        <p:spPr>
          <a:xfrm>
            <a:off x="620093" y="5141451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9" y="136525"/>
            <a:ext cx="1945207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006032"/>
      </p:ext>
    </p:extLst>
  </p:cSld>
  <p:clrMapOvr>
    <a:masterClrMapping/>
  </p:clrMapOvr>
</p:sldLayout>
</file>

<file path=ppt/slideLayouts/slideLayout15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C53AD7-A772-4F83-850B-482C70935EA4}" type="datetime1">
              <a:rPr lang="en-US" altLang="ja-JP"/>
              <a:pPr>
                <a:defRPr/>
              </a:pPr>
              <a:t>2/15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DD8331-DEC2-4D1E-95D5-94283CB87E4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0701339"/>
      </p:ext>
    </p:extLst>
  </p:cSld>
  <p:clrMapOvr>
    <a:masterClrMapping/>
  </p:clrMapOvr>
</p:sldLayout>
</file>

<file path=ppt/slideLayouts/slideLayout15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2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A51ED6-1809-467D-BA74-8EA1DF4B6FEF}" type="datetime1">
              <a:rPr lang="en-US" altLang="ja-JP"/>
              <a:pPr>
                <a:defRPr/>
              </a:pPr>
              <a:t>2/15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AF8077-2CE4-4A8C-806A-F9B27078C00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33605752"/>
      </p:ext>
    </p:extLst>
  </p:cSld>
  <p:clrMapOvr>
    <a:masterClrMapping/>
  </p:clrMapOvr>
</p:sldLayout>
</file>

<file path=ppt/slideLayouts/slideLayout15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5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6">
    <p:spTree>
      <p:nvGrpSpPr>
        <p:cNvPr id="1" name="Shape 1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0" name="Google Shape;1620;p2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1" name="Google Shape;1621;p2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2" name="Google Shape;1622;p2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3" name="Google Shape;1623;p2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4" name="Google Shape;1624;p2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25" name="Google Shape;1625;p2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6" name="Google Shape;1626;p2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7" name="Google Shape;1627;p2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8" name="Google Shape;1628;p2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9" name="Google Shape;1629;p2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5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3200">
                <a:solidFill>
                  <a:srgbClr val="20527C"/>
                </a:solidFill>
                <a:latin typeface="Trajan Pro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2E7A-0A33-4022-B895-7D595E5D5863}" type="datetimeFigureOut">
              <a:rPr lang="en-US" smtClean="0"/>
              <a:pPr/>
              <a:t>2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38434-C2CC-4028-AD72-886E4ED36F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9144000" y="6019800"/>
            <a:ext cx="2540000" cy="838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0704" y="457201"/>
            <a:ext cx="6964496" cy="1524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5104"/>
      </p:ext>
    </p:extLst>
  </p:cSld>
  <p:clrMapOvr>
    <a:masterClrMapping/>
  </p:clrMapOvr>
</p:sldLayout>
</file>

<file path=ppt/slideLayouts/slideLayout15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20527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2E7A-0A33-4022-B895-7D595E5D5863}" type="datetimeFigureOut">
              <a:rPr lang="en-US" smtClean="0"/>
              <a:pPr/>
              <a:t>2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38434-C2CC-4028-AD72-886E4ED36F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661100"/>
      </p:ext>
    </p:extLst>
  </p:cSld>
  <p:clrMapOvr>
    <a:masterClrMapping/>
  </p:clrMapOvr>
</p:sldLayout>
</file>

<file path=ppt/slideLayouts/slideLayout15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20527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9379096"/>
      </p:ext>
    </p:extLst>
  </p:cSld>
  <p:clrMapOvr>
    <a:masterClrMapping/>
  </p:clrMapOvr>
</p:sldLayout>
</file>

<file path=ppt/slideLayouts/slideLayout15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2E7A-0A33-4022-B895-7D595E5D5863}" type="datetimeFigureOut">
              <a:rPr lang="en-US" smtClean="0"/>
              <a:pPr/>
              <a:t>2/15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38434-C2CC-4028-AD72-886E4ED36F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6161833"/>
      </p:ext>
    </p:extLst>
  </p:cSld>
  <p:clrMapOvr>
    <a:masterClrMapping/>
  </p:clrMapOvr>
</p:sldLayout>
</file>

<file path=ppt/slideLayouts/slideLayout15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2E7A-0A33-4022-B895-7D595E5D5863}" type="datetimeFigureOut">
              <a:rPr lang="en-US" smtClean="0"/>
              <a:pPr/>
              <a:t>2/15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38434-C2CC-4028-AD72-886E4ED36F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45765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" name="Google Shape;1631;p2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2" name="Google Shape;1632;p2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633" name="Google Shape;1633;p2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34" name="Google Shape;1634;p2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35" name="Google Shape;1635;p2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36" name="Google Shape;1636;p2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7" name="Google Shape;1637;p2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8" name="Google Shape;1638;p2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9" name="Google Shape;1639;p2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40" name="Google Shape;1640;p2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1" name="Google Shape;1641;p2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2E7A-0A33-4022-B895-7D595E5D5863}" type="datetimeFigureOut">
              <a:rPr lang="en-US" smtClean="0"/>
              <a:pPr/>
              <a:t>2/15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38434-C2CC-4028-AD72-886E4ED36F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6237754"/>
      </p:ext>
    </p:extLst>
  </p:cSld>
  <p:clrMapOvr>
    <a:masterClrMapping/>
  </p:clrMapOvr>
</p:sldLayout>
</file>

<file path=ppt/slideLayouts/slideLayout15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2E7A-0A33-4022-B895-7D595E5D5863}" type="datetimeFigureOut">
              <a:rPr lang="en-US" smtClean="0"/>
              <a:pPr/>
              <a:t>2/15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38434-C2CC-4028-AD72-886E4ED36F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3891271"/>
      </p:ext>
    </p:extLst>
  </p:cSld>
  <p:clrMapOvr>
    <a:masterClrMapping/>
  </p:clrMapOvr>
</p:sldLayout>
</file>

<file path=ppt/slideLayouts/slideLayout15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2E7A-0A33-4022-B895-7D595E5D5863}" type="datetimeFigureOut">
              <a:rPr lang="en-US" smtClean="0"/>
              <a:pPr/>
              <a:t>2/15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38434-C2CC-4028-AD72-886E4ED36F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690702"/>
      </p:ext>
    </p:extLst>
  </p:cSld>
  <p:clrMapOvr>
    <a:masterClrMapping/>
  </p:clrMapOvr>
</p:sldLayout>
</file>

<file path=ppt/slideLayouts/slideLayout15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2E7A-0A33-4022-B895-7D595E5D5863}" type="datetimeFigureOut">
              <a:rPr lang="en-US" smtClean="0"/>
              <a:pPr/>
              <a:t>2/15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38434-C2CC-4028-AD72-886E4ED36F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701750"/>
      </p:ext>
    </p:extLst>
  </p:cSld>
  <p:clrMapOvr>
    <a:masterClrMapping/>
  </p:clrMapOvr>
</p:sldLayout>
</file>

<file path=ppt/slideLayouts/slideLayout15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2E7A-0A33-4022-B895-7D595E5D5863}" type="datetimeFigureOut">
              <a:rPr lang="en-US" smtClean="0"/>
              <a:pPr/>
              <a:t>2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38434-C2CC-4028-AD72-886E4ED36F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8097316"/>
      </p:ext>
    </p:extLst>
  </p:cSld>
  <p:clrMapOvr>
    <a:masterClrMapping/>
  </p:clrMapOvr>
</p:sldLayout>
</file>

<file path=ppt/slideLayouts/slideLayout15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2E7A-0A33-4022-B895-7D595E5D5863}" type="datetimeFigureOut">
              <a:rPr lang="en-US" smtClean="0"/>
              <a:pPr/>
              <a:t>2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038434-C2CC-4028-AD72-886E4ED36F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8773895"/>
      </p:ext>
    </p:extLst>
  </p:cSld>
  <p:clrMapOvr>
    <a:masterClrMapping/>
  </p:clrMapOvr>
</p:sldLayout>
</file>

<file path=ppt/slideLayouts/slideLayout15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ADD8DFC-644F-E24B-8112-31B1D7F00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38329" y="3952017"/>
            <a:ext cx="2623607" cy="262360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CCD7860-2806-B348-BB7F-B3CA3E38F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2" y="598261"/>
            <a:ext cx="10515599" cy="769441"/>
          </a:xfrm>
        </p:spPr>
        <p:txBody>
          <a:bodyPr wrap="square" anchor="ctr">
            <a:spAutoFit/>
          </a:bodyPr>
          <a:lstStyle/>
          <a:p>
            <a:r>
              <a:rPr lang="en-US"/>
              <a:t>Main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169437-195E-1744-9477-3899703A60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7"/>
            <a:ext cx="10515600" cy="627351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25333A3-BC58-B94C-ABDC-565E4D8807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41250" y="1307593"/>
            <a:ext cx="10512551" cy="381771"/>
          </a:xfrm>
        </p:spPr>
        <p:txBody>
          <a:bodyPr wrap="square">
            <a:spAutoFit/>
          </a:bodyPr>
          <a:lstStyle>
            <a:lvl1pPr marL="0" indent="0">
              <a:lnSpc>
                <a:spcPct val="114000"/>
              </a:lnSpc>
              <a:buNone/>
              <a:defRPr sz="1800">
                <a:solidFill>
                  <a:srgbClr val="21B6C1"/>
                </a:solidFill>
                <a:latin typeface="Arial" panose="020B0604020202020204" pitchFamily="34" charset="0"/>
                <a:ea typeface="Cook County Health Brandon" pitchFamily="2" charset="-128"/>
                <a:cs typeface="Arial" panose="020B0604020202020204" pitchFamily="34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260EEC0-07D8-1A41-97EB-EEACE2BC9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291616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1A92386-584D-D94E-A5BD-CE57B594CE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 descr="2019 CCDPH master logo_final_solid CCH blue no tag.png">
            <a:extLst>
              <a:ext uri="{FF2B5EF4-FFF2-40B4-BE49-F238E27FC236}">
                <a16:creationId xmlns:a16="http://schemas.microsoft.com/office/drawing/2014/main" id="{9DE62D90-6DB3-8744-A269-0D1DEF65E1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0639" y="6250046"/>
            <a:ext cx="1604453" cy="406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510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3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7C96BA-DEA6-0560-ABE9-E25F12815D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0173B1-8A28-D5CC-E20A-3E21A3C651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35546C-B4DF-6C6F-11A3-8193323F39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B8371-D38B-4C01-98E6-47F637E51C41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C42C30-6394-9151-CA62-83AD47D87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72FC72-98DF-7FEF-BA3C-CB26F6A0E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325B6-4B70-4C9B-91F4-029E53B84C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065856"/>
      </p:ext>
    </p:extLst>
  </p:cSld>
  <p:clrMapOvr>
    <a:masterClrMapping/>
  </p:clrMapOvr>
</p:sldLayout>
</file>

<file path=ppt/slideLayouts/slideLayout15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0C5F13-E1D4-2E76-D371-6BD234576D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088CCA-B7C2-01F7-2CED-1461437693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EEDD9F-6DAC-AA20-D5AC-BA3B4DA59F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B8371-D38B-4C01-98E6-47F637E51C41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A2A5B7-AD74-1FDB-C16F-7B2A9DBA3F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029DD6-8ACD-F625-F31A-E432F713D1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325B6-4B70-4C9B-91F4-029E53B84C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2441952"/>
      </p:ext>
    </p:extLst>
  </p:cSld>
  <p:clrMapOvr>
    <a:masterClrMapping/>
  </p:clrMapOvr>
</p:sldLayout>
</file>

<file path=ppt/slideLayouts/slideLayout15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6AC348-D049-10A8-B907-2518C7192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07873A-69B5-31E6-5F84-03A0C54EB8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C298C8-7EBC-41DF-AFE2-0F4D2E4293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B8371-D38B-4C01-98E6-47F637E51C41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1F3B9A-4F9D-A20A-74B8-CADD0E8D36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59CD09-C9B7-5E26-3764-5A8C261511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325B6-4B70-4C9B-91F4-029E53B84C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19813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43" name="Google Shape;1643;p2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44" name="Google Shape;1644;p2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45" name="Google Shape;1645;p2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46" name="Google Shape;1646;p2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7" name="Google Shape;1647;p2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48" name="Google Shape;1648;p2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9" name="Google Shape;1649;p2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50" name="Google Shape;1650;p2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1" name="Google Shape;1651;p2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52" name="Google Shape;1652;p2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3" name="Google Shape;1653;p2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54" name="Google Shape;1654;p2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55" name="Google Shape;1655;p2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F1DEAB-21DA-2D8C-A2A2-67596644C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9B200F-D88F-6152-852D-83BC3CFB9A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18FF92-B31E-4382-D1B4-651195CE43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68776A-55F3-7189-1D8E-75FC2FEFD3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B8371-D38B-4C01-98E6-47F637E51C41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45EDEF-6F53-72CF-3FBA-152F4F02B7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1B717E-15A5-F2F0-3F75-CED9BB958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325B6-4B70-4C9B-91F4-029E53B84C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54763"/>
      </p:ext>
    </p:extLst>
  </p:cSld>
  <p:clrMapOvr>
    <a:masterClrMapping/>
  </p:clrMapOvr>
</p:sldLayout>
</file>

<file path=ppt/slideLayouts/slideLayout15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300A67-05DA-D14B-1040-FE8AD991B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5A0158-AE98-BD3F-0705-EF7943BC7B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29E00BE-8C58-B350-22E5-C70389D798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5D58E3-121F-8A84-6B73-BD6336F7751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3D2725-F08C-2F21-10D3-CA570152D9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B1A4AF-BF09-BA79-5A46-B6AD3DB1D7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B8371-D38B-4C01-98E6-47F637E51C41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6C39AFC-C92B-70A8-0F37-955D1AF65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CE5BC13-38E0-E128-2850-1C314AEC73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325B6-4B70-4C9B-91F4-029E53B84C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378918"/>
      </p:ext>
    </p:extLst>
  </p:cSld>
  <p:clrMapOvr>
    <a:masterClrMapping/>
  </p:clrMapOvr>
</p:sldLayout>
</file>

<file path=ppt/slideLayouts/slideLayout15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2A6FB5-80DD-4682-FD07-E6644235C9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04EE16-9579-646E-657E-EE955065A6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B8371-D38B-4C01-98E6-47F637E51C41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C7FEEE-8218-66D2-F788-6B2A27293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759C12-5529-A0A6-87D5-79E2DFCDF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325B6-4B70-4C9B-91F4-029E53B84C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065411"/>
      </p:ext>
    </p:extLst>
  </p:cSld>
  <p:clrMapOvr>
    <a:masterClrMapping/>
  </p:clrMapOvr>
</p:sldLayout>
</file>

<file path=ppt/slideLayouts/slideLayout15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13186A-057E-E955-BD9A-6301439D4F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B8371-D38B-4C01-98E6-47F637E51C41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C7309F-3CD5-805D-3199-B205E92ED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61E3E9-CC04-7CEE-E126-306EC3300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325B6-4B70-4C9B-91F4-029E53B84C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606594"/>
      </p:ext>
    </p:extLst>
  </p:cSld>
  <p:clrMapOvr>
    <a:masterClrMapping/>
  </p:clrMapOvr>
</p:sldLayout>
</file>

<file path=ppt/slideLayouts/slideLayout15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83773-0DEA-D9C8-34E5-54A19AB938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C1D918-58DA-2FC9-3D9B-042230A57F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AF9D69F-EF93-C43E-6A45-7E0151C51C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7214DB-BE82-8D5C-0096-FCBA918E02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B8371-D38B-4C01-98E6-47F637E51C41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2630BA-7754-FA0D-AD32-8533DFA1A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B1788E-CB17-6F86-8D4F-79CD7A383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325B6-4B70-4C9B-91F4-029E53B84C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10179"/>
      </p:ext>
    </p:extLst>
  </p:cSld>
  <p:clrMapOvr>
    <a:masterClrMapping/>
  </p:clrMapOvr>
</p:sldLayout>
</file>

<file path=ppt/slideLayouts/slideLayout15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CA63F8-4FAA-8613-0F73-FC5DE3DF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B22C70-3F70-5DDC-FD34-D007912D74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6DBE8C-CCD4-CC62-0BB1-BB809ACC9A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50870C-2D5B-D7B4-1511-03EE85C043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B8371-D38B-4C01-98E6-47F637E51C41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E17115-A0CE-13B4-1C9D-91C37AA90D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7A69E7A-29D9-2E01-2AA1-54B367095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325B6-4B70-4C9B-91F4-029E53B84C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13843"/>
      </p:ext>
    </p:extLst>
  </p:cSld>
  <p:clrMapOvr>
    <a:masterClrMapping/>
  </p:clrMapOvr>
</p:sldLayout>
</file>

<file path=ppt/slideLayouts/slideLayout15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A19E37-A2C3-BA3B-A463-2F251E5A4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4994E7C-1316-B95F-7995-4CBADCA79A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7B8D4E-9980-A72B-2744-C48B5F28CE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B8371-D38B-4C01-98E6-47F637E51C41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E8F694-40EA-C7B1-DD20-33251197D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4D68E9-DB01-4BDB-2E7A-BDAED4E86D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325B6-4B70-4C9B-91F4-029E53B84C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23023"/>
      </p:ext>
    </p:extLst>
  </p:cSld>
  <p:clrMapOvr>
    <a:masterClrMapping/>
  </p:clrMapOvr>
</p:sldLayout>
</file>

<file path=ppt/slideLayouts/slideLayout15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F8E4410-A545-46F9-9320-F8AB2D94DAD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A1827C-9250-50BC-6F58-68FCA438E1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22DD96-AACF-24ED-8C5A-456BAEB37C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B8371-D38B-4C01-98E6-47F637E51C41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6F9077-622C-B03E-CCB2-1C3021E6AD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ADAB0D-B3F4-B112-C85D-786C22794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325B6-4B70-4C9B-91F4-029E53B84C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687958"/>
      </p:ext>
    </p:extLst>
  </p:cSld>
  <p:clrMapOvr>
    <a:masterClrMapping/>
  </p:clrMapOvr>
</p:sldLayout>
</file>

<file path=ppt/slideLayouts/slideLayout1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069CB8-F204-4D06-B913-C5A26A89888A}" type="datetimeFigureOut">
              <a:rPr lang="en-US" smtClean="0"/>
              <a:t>2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3139790"/>
      </p:ext>
    </p:extLst>
  </p:cSld>
  <p:clrMapOvr>
    <a:masterClrMapping/>
  </p:clrMapOvr>
</p:sldLayout>
</file>

<file path=ppt/slideLayouts/slideLayout15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0BB376-B19C-488D-ABEB-03C7E6E9E3E0}" type="datetimeFigureOut">
              <a:rPr lang="en-US" smtClean="0"/>
              <a:t>2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637A9-119A-49DA-BD12-AAC58B377D8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343778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7" name="Google Shape;1657;p2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58" name="Google Shape;1658;p2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59" name="Google Shape;1659;p2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60" name="Google Shape;1660;p2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1" name="Google Shape;1661;p2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62" name="Google Shape;1662;p2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3" name="Google Shape;1663;p2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4" name="Google Shape;1664;p2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65" name="Google Shape;1665;p2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F077B-A50F-4D64-8574-E2D6A98A5553}" type="datetimeFigureOut">
              <a:rPr lang="en-US" smtClean="0"/>
              <a:t>2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8251705"/>
      </p:ext>
    </p:extLst>
  </p:cSld>
  <p:clrMapOvr>
    <a:masterClrMapping/>
  </p:clrMapOvr>
</p:sldLayout>
</file>

<file path=ppt/slideLayouts/slideLayout15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8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9E2A62-1983-43A1-A163-D8AA46534C80}" type="datetimeFigureOut">
              <a:rPr lang="en-US" smtClean="0"/>
              <a:t>2/15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902267"/>
      </p:ext>
    </p:extLst>
  </p:cSld>
  <p:clrMapOvr>
    <a:masterClrMapping/>
  </p:clrMapOvr>
</p:sldLayout>
</file>

<file path=ppt/slideLayouts/slideLayout15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8F3E3B-34E3-4345-B2A1-994B83598A9C}" type="datetimeFigureOut">
              <a:rPr lang="en-US" smtClean="0"/>
              <a:t>2/15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2141823"/>
      </p:ext>
    </p:extLst>
  </p:cSld>
  <p:clrMapOvr>
    <a:masterClrMapping/>
  </p:clrMapOvr>
</p:sldLayout>
</file>

<file path=ppt/slideLayouts/slideLayout15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816C96-82A1-4D77-8ADA-627AC6FE3D65}" type="datetimeFigureOut">
              <a:rPr lang="en-US" smtClean="0"/>
              <a:t>2/15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1675970"/>
      </p:ext>
    </p:extLst>
  </p:cSld>
  <p:clrMapOvr>
    <a:masterClrMapping/>
  </p:clrMapOvr>
</p:sldLayout>
</file>

<file path=ppt/slideLayouts/slideLayout1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102C1E-28F2-47E9-802D-339E64E2F920}" type="datetimeFigureOut">
              <a:rPr lang="en-US" smtClean="0"/>
              <a:t>2/15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484510"/>
      </p:ext>
    </p:extLst>
  </p:cSld>
  <p:clrMapOvr>
    <a:masterClrMapping/>
  </p:clrMapOvr>
</p:sldLayout>
</file>

<file path=ppt/slideLayouts/slideLayout1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24271A48-F18A-45B3-BC05-1E27DA3F88AF}" type="datetimeFigureOut">
              <a:rPr lang="en-US" smtClean="0"/>
              <a:t>2/15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355703"/>
      </p:ext>
    </p:extLst>
  </p:cSld>
  <p:clrMapOvr>
    <a:masterClrMapping/>
  </p:clrMapOvr>
</p:sldLayout>
</file>

<file path=ppt/slideLayouts/slideLayout15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B747F8-9654-4282-85D2-65F41AAE7A75}" type="datetimeFigureOut">
              <a:rPr lang="en-US" smtClean="0"/>
              <a:t>2/15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6171237"/>
      </p:ext>
    </p:extLst>
  </p:cSld>
  <p:clrMapOvr>
    <a:masterClrMapping/>
  </p:clrMapOvr>
</p:sldLayout>
</file>

<file path=ppt/slideLayouts/slideLayout15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B6E300-0A13-4A81-945A-7333C271A069}" type="datetimeFigureOut">
              <a:rPr lang="en-US" smtClean="0"/>
              <a:t>2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272898"/>
      </p:ext>
    </p:extLst>
  </p:cSld>
  <p:clrMapOvr>
    <a:masterClrMapping/>
  </p:clrMapOvr>
</p:sldLayout>
</file>

<file path=ppt/slideLayouts/slideLayout1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71962-1EA4-46E7-BCB0-F36CE46D1A59}" type="datetimeFigureOut">
              <a:rPr lang="en-US" smtClean="0"/>
              <a:t>2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94446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7" name="Google Shape;1667;p2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668" name="Google Shape;1668;p2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9" name="Google Shape;1669;p2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70" name="Google Shape;1670;p2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1" name="Google Shape;1671;p2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2" name="Google Shape;1672;p2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73" name="Google Shape;1673;p2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674" name="Google Shape;1674;p2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6" name="Google Shape;1676;p2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77" name="Google Shape;1677;p2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8" name="Google Shape;1678;p2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79" name="Google Shape;1679;p2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80" name="Google Shape;1680;p2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81" name="Google Shape;1681;p2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82" name="Google Shape;1682;p2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3" name="Google Shape;1683;p2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5">
    <p:spTree>
      <p:nvGrpSpPr>
        <p:cNvPr id="1" name="Shape 1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5" name="Google Shape;1685;p21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6" name="Google Shape;1686;p21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7" name="Google Shape;1687;p21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88" name="Google Shape;1688;p2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689" name="Google Shape;1689;p21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690" name="Google Shape;1690;p2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1" name="Google Shape;1691;p21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92" name="Google Shape;1692;p2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6">
    <p:bg>
      <p:bgPr>
        <a:solidFill>
          <a:schemeClr val="lt2"/>
        </a:solidFill>
        <a:effectLst/>
      </p:bgPr>
    </p:bg>
    <p:spTree>
      <p:nvGrpSpPr>
        <p:cNvPr id="1" name="Shape 1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94" name="Google Shape;1694;p21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695" name="Google Shape;1695;p21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6" name="Google Shape;1696;p2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7" name="Google Shape;1697;p21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98" name="Google Shape;1698;p2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99" name="Google Shape;1699;p2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0" name="Google Shape;1700;p2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" name="Google Shape;173;p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4" name="Google Shape;174;p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" name="Google Shape;175;p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" name="Google Shape;176;p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7" name="Google Shape;177;p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178;p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9" name="Google Shape;179;p7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7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" name="Google Shape;181;p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2" name="Google Shape;182;p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2" name="Google Shape;1702;p21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3" name="Google Shape;1703;p21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04" name="Google Shape;1704;p21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05" name="Google Shape;1705;p21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6" name="Google Shape;1706;p21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07" name="Google Shape;1707;p21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08" name="Google Shape;1708;p2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4">
    <p:spTree>
      <p:nvGrpSpPr>
        <p:cNvPr id="1" name="Shape 1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" name="Google Shape;1710;p2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1" name="Google Shape;1711;p2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2" name="Google Shape;1712;p2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3" name="Google Shape;1713;p2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14" name="Google Shape;1714;p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5" name="Google Shape;1715;p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16" name="Google Shape;1716;p2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17" name="Google Shape;1717;p2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18" name="Google Shape;1718;p2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19" name="Google Shape;1719;p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0" name="Google Shape;1720;p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21" name="Google Shape;1721;p2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7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3" name="Google Shape;1723;p2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24" name="Google Shape;1724;p2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25" name="Google Shape;1725;p2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26" name="Google Shape;1726;p2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7" name="Google Shape;1727;p2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28" name="Google Shape;1728;p2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9" name="Google Shape;1729;p21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0" name="Google Shape;1730;p2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31" name="Google Shape;1731;p2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2" name="Google Shape;1732;p2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5" name="Google Shape;1735;p2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36" name="Google Shape;1736;p2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37" name="Google Shape;1737;p2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38" name="Google Shape;1738;p2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39" name="Google Shape;1739;p2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0" name="Google Shape;1740;p2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41" name="Google Shape;1741;p21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2" name="Google Shape;1742;p21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3" name="Google Shape;1743;p2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4" name="Google Shape;1744;p2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6" name="Google Shape;1746;p2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7" name="Google Shape;1747;p2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8" name="Google Shape;1748;p2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49" name="Google Shape;1749;p2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0" name="Google Shape;1750;p2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51" name="Google Shape;1751;p2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2" name="Google Shape;1752;p22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53" name="Google Shape;1753;p22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4" name="Google Shape;1754;p22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55" name="Google Shape;1755;p22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6" name="Google Shape;1756;p2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57" name="Google Shape;1757;p2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58" name="Google Shape;1758;p2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0" name="Google Shape;1760;p2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1" name="Google Shape;1761;p2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2" name="Google Shape;1762;p2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3" name="Google Shape;1763;p2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4" name="Google Shape;1764;p2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65" name="Google Shape;1765;p2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6" name="Google Shape;1766;p2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7" name="Google Shape;1767;p2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8" name="Google Shape;1768;p2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0" name="Google Shape;1770;p22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71" name="Google Shape;1771;p22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2" name="Google Shape;1772;p22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73" name="Google Shape;1773;p22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74" name="Google Shape;1774;p22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5" name="Google Shape;1775;p22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76" name="Google Shape;1776;p2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77" name="Google Shape;1777;p22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4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2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0" name="Google Shape;1780;p2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1" name="Google Shape;1781;p2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82" name="Google Shape;1782;p2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3" name="Google Shape;1783;p2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4" name="Google Shape;1784;p2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5" name="Google Shape;1785;p2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6" name="Google Shape;1786;p2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5">
    <p:spTree>
      <p:nvGrpSpPr>
        <p:cNvPr id="1" name="Shape 1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8" name="Google Shape;1788;p22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89" name="Google Shape;1789;p22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0" name="Google Shape;1790;p22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1" name="Google Shape;1791;p2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2" name="Google Shape;1792;p2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93" name="Google Shape;1793;p2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94" name="Google Shape;1794;p2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95" name="Google Shape;1795;p2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96" name="Google Shape;1796;p2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97" name="Google Shape;1797;p2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8" name="Google Shape;1798;p2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99" name="Google Shape;1799;p22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1" name="Google Shape;1801;p225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2" name="Google Shape;1802;p225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03" name="Google Shape;1803;p2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804" name="Google Shape;1804;p225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05" name="Google Shape;1805;p22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806" name="Google Shape;1806;p225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7" name="Google Shape;1807;p225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8" name="Google Shape;1808;p225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9" name="Google Shape;1809;p2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0" name="Google Shape;1810;p22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11" name="Google Shape;1811;p2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" name="Google Shape;184;p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" name="Google Shape;185;p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" name="Google Shape;186;p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" name="Google Shape;187;p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188;p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" name="Google Shape;189;p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" name="Google Shape;190;p7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1" name="Google Shape;191;p7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7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" name="Google Shape;193;p7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" name="Google Shape;195;p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" name="Google Shape;196;p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4">
    <p:spTree>
      <p:nvGrpSpPr>
        <p:cNvPr id="1" name="Shape 1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3" name="Google Shape;1813;p22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14" name="Google Shape;1814;p22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5" name="Google Shape;1815;p22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6" name="Google Shape;1816;p2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7" name="Google Shape;1817;p2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8" name="Google Shape;1818;p2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9" name="Google Shape;1819;p2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20" name="Google Shape;1820;p2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21" name="Google Shape;1821;p2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22" name="Google Shape;1822;p2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3" name="Google Shape;1823;p2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24" name="Google Shape;1824;p22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6" name="Google Shape;1826;p2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7" name="Google Shape;1827;p2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8" name="Google Shape;1828;p2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9" name="Google Shape;1829;p2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30" name="Google Shape;1830;p2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1" name="Google Shape;1831;p2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32" name="Google Shape;1832;p2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33" name="Google Shape;1833;p2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34" name="Google Shape;1834;p2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35" name="Google Shape;1835;p2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6" name="Google Shape;1836;p2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37" name="Google Shape;1837;p22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9" name="Google Shape;1839;p22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0" name="Google Shape;1840;p228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41" name="Google Shape;1841;p22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42" name="Google Shape;1842;p2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3" name="Google Shape;1843;p2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5" name="Google Shape;1845;p22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6" name="Google Shape;1846;p22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7" name="Google Shape;1847;p2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48" name="Google Shape;1848;p2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9" name="Google Shape;1849;p2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50" name="Google Shape;1850;p22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1" name="Google Shape;1851;p22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2" name="Google Shape;1852;p22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53" name="Google Shape;1853;p2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8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5" name="Google Shape;1855;p2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6" name="Google Shape;1856;p2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7" name="Google Shape;1857;p2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58" name="Google Shape;1858;p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9" name="Google Shape;1859;p2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60" name="Google Shape;1860;p2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1" name="Google Shape;1861;p2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2" name="Google Shape;1862;p2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63" name="Google Shape;1863;p2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Google Shape;1865;p2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6" name="Google Shape;1866;p2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7" name="Google Shape;1867;p2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8" name="Google Shape;1868;p2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69" name="Google Shape;1869;p2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1" name="Google Shape;1871;p2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72" name="Google Shape;1872;p2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873" name="Google Shape;1873;p2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4" name="Google Shape;1874;p2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5" name="Google Shape;1875;p2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7" name="Google Shape;1877;p2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8" name="Google Shape;1878;p2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9" name="Google Shape;1879;p2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0" name="Google Shape;1880;p2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1" name="Google Shape;1881;p2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882" name="Google Shape;1882;p2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" name="Google Shape;1884;p2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5" name="Google Shape;1885;p2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6" name="Google Shape;1886;p2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87" name="Google Shape;1887;p2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8" name="Google Shape;1888;p2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89" name="Google Shape;1889;p2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0" name="Google Shape;1890;p2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1" name="Google Shape;1891;p2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92" name="Google Shape;1892;p2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8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" name="Google Shape;1894;p2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5" name="Google Shape;1895;p2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6" name="Google Shape;1896;p2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7" name="Google Shape;1897;p2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98" name="Google Shape;1898;p2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8" name="Google Shape;198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9" name="Google Shape;199;p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0" name="Google Shape;200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1" name="Google Shape;201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202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3" name="Google Shape;203;p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5" name="Google Shape;205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6" name="Google Shape;206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0" name="Google Shape;1900;p2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01" name="Google Shape;1901;p2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02" name="Google Shape;1902;p2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3" name="Google Shape;1903;p2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4" name="Google Shape;1904;p2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9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6" name="Google Shape;1906;p2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7" name="Google Shape;1907;p2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8" name="Google Shape;1908;p2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2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0" name="Google Shape;1910;p2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11" name="Google Shape;1911;p2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3" name="Google Shape;1913;p23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4" name="Google Shape;1914;p23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5" name="Google Shape;1915;p23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16" name="Google Shape;1916;p2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7" name="Google Shape;1917;p2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18" name="Google Shape;1918;p23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19" name="Google Shape;1919;p23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0" name="Google Shape;1920;p23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21" name="Google Shape;1921;p2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3" name="Google Shape;1923;p23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4" name="Google Shape;1924;p23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5" name="Google Shape;1925;p23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26" name="Google Shape;1926;p2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7" name="Google Shape;1927;p2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28" name="Google Shape;1928;p23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9" name="Google Shape;1929;p23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0" name="Google Shape;1930;p23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31" name="Google Shape;1931;p2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3" name="Google Shape;1933;p24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4" name="Google Shape;1934;p24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5" name="Google Shape;1935;p2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36" name="Google Shape;1936;p2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7" name="Google Shape;1937;p2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38" name="Google Shape;1938;p24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9" name="Google Shape;1939;p24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0" name="Google Shape;1940;p24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41" name="Google Shape;1941;p2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9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3" name="Google Shape;1943;p24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4" name="Google Shape;1944;p24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5" name="Google Shape;1945;p24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6" name="Google Shape;1946;p24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47" name="Google Shape;1947;p2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9" name="Google Shape;1949;p24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50" name="Google Shape;1950;p2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51" name="Google Shape;1951;p24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2" name="Google Shape;1952;p24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3" name="Google Shape;1953;p24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2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2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7" name="Google Shape;1957;p24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8" name="Google Shape;1958;p24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9" name="Google Shape;1959;p24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60" name="Google Shape;1960;p2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2" name="Google Shape;1962;p24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3" name="Google Shape;1963;p24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4" name="Google Shape;1964;p24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65" name="Google Shape;1965;p2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6" name="Google Shape;1966;p2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67" name="Google Shape;1967;p24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8" name="Google Shape;1968;p24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9" name="Google Shape;1969;p24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70" name="Google Shape;1970;p2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9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2" name="Google Shape;1972;p24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3" name="Google Shape;1973;p24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4" name="Google Shape;1974;p24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5" name="Google Shape;1975;p24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76" name="Google Shape;1976;p2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8" name="Google Shape;208;p7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09" name="Google Shape;209;p7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10;p7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1" name="Google Shape;211;p7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p7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" name="Google Shape;213;p7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4" name="Google Shape;214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15" name="Google Shape;215;p7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8" name="Google Shape;1978;p24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9" name="Google Shape;1979;p2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80" name="Google Shape;1980;p24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1" name="Google Shape;1981;p24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2" name="Google Shape;1982;p24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4" name="Google Shape;1984;p24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5" name="Google Shape;1985;p24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6" name="Google Shape;1986;p24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7" name="Google Shape;1987;p24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8" name="Google Shape;1988;p24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89" name="Google Shape;1989;p2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9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1" name="Google Shape;1991;p24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2" name="Google Shape;1992;p24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3" name="Google Shape;1993;p24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4" name="Google Shape;1994;p24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95" name="Google Shape;1995;p2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7" name="Google Shape;1997;p24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98" name="Google Shape;1998;p2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99" name="Google Shape;1999;p24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0" name="Google Shape;2000;p24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01" name="Google Shape;2001;p24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2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3" name="Google Shape;2003;p25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4" name="Google Shape;2004;p25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5" name="Google Shape;2005;p25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06" name="Google Shape;2006;p25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07" name="Google Shape;2007;p25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08" name="Google Shape;2008;p2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20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0" name="Google Shape;2010;p25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11" name="Google Shape;2011;p25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2" name="Google Shape;2012;p25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13" name="Google Shape;2013;p2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4" name="Google Shape;2014;p2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15" name="Google Shape;2015;p25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6" name="Google Shape;2016;p25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7" name="Google Shape;2017;p25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18" name="Google Shape;2018;p2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2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0" name="Google Shape;2020;p25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21" name="Google Shape;2021;p25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2" name="Google Shape;2022;p25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23" name="Google Shape;2023;p2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4" name="Google Shape;2024;p2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25" name="Google Shape;2025;p25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26" name="Google Shape;2026;p25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27" name="Google Shape;2027;p25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28" name="Google Shape;2028;p2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2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0" name="Google Shape;2030;p25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31" name="Google Shape;2031;p25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2" name="Google Shape;2032;p25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3" name="Google Shape;2033;p25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34" name="Google Shape;2034;p2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2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6" name="Google Shape;2036;p25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37" name="Google Shape;2037;p2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038" name="Google Shape;2038;p25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9" name="Google Shape;2039;p25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0" name="Google Shape;2040;p25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2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2" name="Google Shape;2042;p25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3" name="Google Shape;2043;p25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4" name="Google Shape;2044;p25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45" name="Google Shape;2045;p25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46" name="Google Shape;2046;p25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47" name="Google Shape;2047;p2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oogle Shape;24;p5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5" name="Google Shape;25;p5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26;p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27;p5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" name="Google Shape;28;p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" name="Google Shape;29;p5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5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8" name="Google Shape;218;p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9" name="Google Shape;219;p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0" name="Google Shape;220;p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1" name="Google Shape;221;p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p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" name="Google Shape;223;p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10">
    <p:spTree>
      <p:nvGrpSpPr>
        <p:cNvPr id="1" name="Shape 2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Google Shape;2049;p25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50" name="Google Shape;2050;p25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1" name="Google Shape;2051;p25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52" name="Google Shape;2052;p2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3" name="Google Shape;2053;p2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54" name="Google Shape;2054;p25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5" name="Google Shape;2055;p25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6" name="Google Shape;2056;p25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57" name="Google Shape;2057;p2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25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0" name="Google Shape;2060;p2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1" name="Google Shape;2061;p2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2" name="Google Shape;2062;p25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63" name="Google Shape;2063;p2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2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5" name="Google Shape;2065;p25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66" name="Google Shape;2066;p2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067" name="Google Shape;2067;p25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8" name="Google Shape;2068;p25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9" name="Google Shape;2069;p25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20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1" name="Google Shape;2071;p25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2" name="Google Shape;2072;p25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3" name="Google Shape;2073;p25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4" name="Google Shape;2074;p25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5" name="Google Shape;2075;p25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76" name="Google Shape;2076;p2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6">
    <p:spTree>
      <p:nvGrpSpPr>
        <p:cNvPr id="1" name="Shape 20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8" name="Google Shape;2078;p26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9" name="Google Shape;2079;p26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80" name="Google Shape;2080;p26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081" name="Google Shape;2081;p2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082" name="Google Shape;2082;p26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83" name="Google Shape;2083;p2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4" name="Google Shape;2084;p26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85" name="Google Shape;2085;p2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7">
    <p:bg>
      <p:bgPr>
        <a:solidFill>
          <a:schemeClr val="lt2"/>
        </a:solidFill>
        <a:effectLst/>
      </p:bgPr>
    </p:bg>
    <p:spTree>
      <p:nvGrpSpPr>
        <p:cNvPr id="1" name="Shape 20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87" name="Google Shape;2087;p26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088" name="Google Shape;2088;p26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9" name="Google Shape;2089;p26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0" name="Google Shape;2090;p26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91" name="Google Shape;2091;p2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92" name="Google Shape;2092;p26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93" name="Google Shape;2093;p26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5">
    <p:spTree>
      <p:nvGrpSpPr>
        <p:cNvPr id="1" name="Shape 2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5" name="Google Shape;2095;p26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096" name="Google Shape;2096;p26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097" name="Google Shape;2097;p26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098" name="Google Shape;2098;p26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9" name="Google Shape;2099;p26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00" name="Google Shape;2100;p26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101" name="Google Shape;2101;p2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5">
    <p:spTree>
      <p:nvGrpSpPr>
        <p:cNvPr id="1" name="Shape 2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3" name="Google Shape;2103;p2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04" name="Google Shape;2104;p2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05" name="Google Shape;2105;p2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06" name="Google Shape;2106;p2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07" name="Google Shape;2107;p2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08" name="Google Shape;2108;p2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09" name="Google Shape;2109;p2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10" name="Google Shape;2110;p2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11" name="Google Shape;2111;p2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12" name="Google Shape;2112;p2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3" name="Google Shape;2113;p2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114" name="Google Shape;2114;p2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4">
    <p:spTree>
      <p:nvGrpSpPr>
        <p:cNvPr id="1" name="Shape 2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6" name="Google Shape;2116;p2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7" name="Google Shape;2117;p2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118" name="Google Shape;2118;p2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19" name="Google Shape;2119;p2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20" name="Google Shape;2120;p2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21" name="Google Shape;2121;p2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2" name="Google Shape;2122;p2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3" name="Google Shape;2123;p26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24" name="Google Shape;2124;p26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25" name="Google Shape;2125;p2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26" name="Google Shape;2126;p2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4">
    <p:spTree>
      <p:nvGrpSpPr>
        <p:cNvPr id="1" name="Shape 2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28" name="Google Shape;2128;p2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29" name="Google Shape;2129;p2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30" name="Google Shape;2130;p2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31" name="Google Shape;2131;p2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2" name="Google Shape;2132;p2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33" name="Google Shape;2133;p2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4" name="Google Shape;2134;p26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35" name="Google Shape;2135;p26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6" name="Google Shape;2136;p26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37" name="Google Shape;2137;p26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8" name="Google Shape;2138;p2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39" name="Google Shape;2139;p2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40" name="Google Shape;2140;p2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7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7" name="Google Shape;227;p7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" name="Google Shape;228;p7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29" name="Google Shape;229;p7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30" name="Google Shape;230;p7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31" name="Google Shape;231;p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Google Shape;232;p7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33" name="Google Shape;233;p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4">
    <p:spTree>
      <p:nvGrpSpPr>
        <p:cNvPr id="1" name="Shape 2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42" name="Google Shape;2142;p2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43" name="Google Shape;2143;p2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44" name="Google Shape;2144;p2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45" name="Google Shape;2145;p2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6" name="Google Shape;2146;p2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47" name="Google Shape;2147;p2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48" name="Google Shape;2148;p2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49" name="Google Shape;2149;p2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50" name="Google Shape;2150;p2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5">
    <p:spTree>
      <p:nvGrpSpPr>
        <p:cNvPr id="1" name="Shape 2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2" name="Google Shape;2152;p26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153" name="Google Shape;2153;p26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4" name="Google Shape;2154;p26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55" name="Google Shape;2155;p26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6" name="Google Shape;2156;p26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57" name="Google Shape;2157;p26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58" name="Google Shape;2158;p2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159" name="Google Shape;2159;p2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5">
    <p:spTree>
      <p:nvGrpSpPr>
        <p:cNvPr id="1" name="Shape 2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1" name="Google Shape;2161;p2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62" name="Google Shape;2162;p2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3" name="Google Shape;2163;p2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64" name="Google Shape;2164;p2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65" name="Google Shape;2165;p2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66" name="Google Shape;2166;p2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67" name="Google Shape;2167;p2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8" name="Google Shape;2168;p2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7">
    <p:spTree>
      <p:nvGrpSpPr>
        <p:cNvPr id="1" name="Shape 2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" name="Google Shape;2170;p26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71" name="Google Shape;2171;p26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2" name="Google Shape;2172;p26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173" name="Google Shape;2173;p2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174" name="Google Shape;2174;p26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175" name="Google Shape;2175;p2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6" name="Google Shape;2176;p26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77" name="Google Shape;2177;p2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8">
    <p:bg>
      <p:bgPr>
        <a:solidFill>
          <a:schemeClr val="lt2"/>
        </a:solidFill>
        <a:effectLst/>
      </p:bgPr>
    </p:bg>
    <p:spTree>
      <p:nvGrpSpPr>
        <p:cNvPr id="1" name="Shape 2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79" name="Google Shape;2179;p27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180" name="Google Shape;2180;p27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1" name="Google Shape;2181;p27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2" name="Google Shape;2182;p27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83" name="Google Shape;2183;p2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184" name="Google Shape;2184;p27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85" name="Google Shape;2185;p27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6">
    <p:spTree>
      <p:nvGrpSpPr>
        <p:cNvPr id="1" name="Shape 2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7" name="Google Shape;2187;p27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188" name="Google Shape;2188;p27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189" name="Google Shape;2189;p27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190" name="Google Shape;2190;p27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1" name="Google Shape;2191;p27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92" name="Google Shape;2192;p27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193" name="Google Shape;2193;p2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6">
    <p:spTree>
      <p:nvGrpSpPr>
        <p:cNvPr id="1" name="Shape 2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5" name="Google Shape;2195;p2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96" name="Google Shape;2196;p2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7" name="Google Shape;2197;p2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98" name="Google Shape;2198;p2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99" name="Google Shape;2199;p2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00" name="Google Shape;2200;p2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01" name="Google Shape;2201;p2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02" name="Google Shape;2202;p2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03" name="Google Shape;2203;p2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04" name="Google Shape;2204;p2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5" name="Google Shape;2205;p2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206" name="Google Shape;2206;p2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8">
    <p:spTree>
      <p:nvGrpSpPr>
        <p:cNvPr id="1" name="Shape 2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08" name="Google Shape;2208;p2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09" name="Google Shape;2209;p2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10" name="Google Shape;2210;p2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11" name="Google Shape;2211;p2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12" name="Google Shape;2212;p2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13" name="Google Shape;2213;p2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14" name="Google Shape;2214;p2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15" name="Google Shape;2215;p2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16" name="Google Shape;2216;p2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17" name="Google Shape;2217;p2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5">
    <p:spTree>
      <p:nvGrpSpPr>
        <p:cNvPr id="1" name="Shape 2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9" name="Google Shape;2219;p2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20" name="Google Shape;2220;p27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21" name="Google Shape;2221;p2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22" name="Google Shape;2222;p2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3" name="Google Shape;2223;p2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24" name="Google Shape;2224;p2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5" name="Google Shape;2225;p2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26" name="Google Shape;2226;p27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27" name="Google Shape;2227;p27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28" name="Google Shape;2228;p2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29" name="Google Shape;2229;p2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5">
    <p:spTree>
      <p:nvGrpSpPr>
        <p:cNvPr id="1" name="Shape 2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31" name="Google Shape;2231;p12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32" name="Google Shape;2232;p12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33" name="Google Shape;2233;p12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4" name="Google Shape;2234;p12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5" name="Google Shape;2235;p12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36" name="Google Shape;2236;p12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37" name="Google Shape;2237;p123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238" name="Google Shape;2238;p123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39" name="Google Shape;2239;p123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240" name="Google Shape;2240;p123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41" name="Google Shape;2241;p12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42" name="Google Shape;2242;p12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43" name="Google Shape;2243;p1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6" name="Google Shape;236;p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7" name="Google Shape;237;p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8" name="Google Shape;238;p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39;p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0" name="Google Shape;240;p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41" name="Google Shape;241;p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5">
    <p:spTree>
      <p:nvGrpSpPr>
        <p:cNvPr id="1" name="Shape 2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45" name="Google Shape;2245;p2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46" name="Google Shape;2246;p2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47" name="Google Shape;2247;p2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48" name="Google Shape;2248;p2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9" name="Google Shape;2249;p2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50" name="Google Shape;2250;p2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51" name="Google Shape;2251;p2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52" name="Google Shape;2252;p2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53" name="Google Shape;2253;p2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6">
    <p:spTree>
      <p:nvGrpSpPr>
        <p:cNvPr id="1" name="Shape 2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5" name="Google Shape;2255;p27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256" name="Google Shape;2256;p27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7" name="Google Shape;2257;p27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58" name="Google Shape;2258;p27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59" name="Google Shape;2259;p27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0" name="Google Shape;2260;p27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261" name="Google Shape;2261;p2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262" name="Google Shape;2262;p27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6">
    <p:spTree>
      <p:nvGrpSpPr>
        <p:cNvPr id="1" name="Shape 2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4" name="Google Shape;2264;p2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65" name="Google Shape;2265;p2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66" name="Google Shape;2266;p2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67" name="Google Shape;2267;p2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68" name="Google Shape;2268;p2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69" name="Google Shape;2269;p2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70" name="Google Shape;2270;p2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1" name="Google Shape;2271;p2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2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" name="Google Shape;2273;p279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274" name="Google Shape;2274;p2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75" name="Google Shape;2275;p279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2276" name="Google Shape;2276;p279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77" name="Google Shape;2277;p279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2278" name="Google Shape;2278;p279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79" name="Google Shape;2279;p279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0" name="Google Shape;2280;p279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1" name="Google Shape;2281;p279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2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" name="Google Shape;2283;p280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84" name="Google Shape;2284;p28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5" name="Google Shape;2285;p28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6" name="Google Shape;2286;p28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7" name="Google Shape;2287;p2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288" name="Google Shape;2288;p28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2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90" name="Google Shape;2290;p2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91" name="Google Shape;2291;p2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92" name="Google Shape;2292;p2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93" name="Google Shape;2293;p2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4" name="Google Shape;2294;p2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95" name="Google Shape;2295;p2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96" name="Google Shape;2296;p2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97" name="Google Shape;2297;p2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98" name="Google Shape;2298;p2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99" name="Google Shape;2299;p2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2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1" name="Google Shape;2301;p28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02" name="Google Shape;2302;p28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03" name="Google Shape;2303;p28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04" name="Google Shape;2304;p28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5" name="Google Shape;2305;p28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06" name="Google Shape;2306;p28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307" name="Google Shape;2307;p2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2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9" name="Google Shape;2309;p2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10" name="Google Shape;2310;p28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2311" name="Google Shape;2311;p283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12" name="Google Shape;2312;p283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 2">
    <p:spTree>
      <p:nvGrpSpPr>
        <p:cNvPr id="1" name="Shape 2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4" name="Google Shape;2314;p12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2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2315" name="Google Shape;2315;p12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16" name="Google Shape;2316;p12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17" name="Google Shape;2317;p1231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">
    <p:spTree>
      <p:nvGrpSpPr>
        <p:cNvPr id="1" name="Shape 2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9" name="Google Shape;2319;p12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2320" name="Google Shape;2320;p1232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1" name="Google Shape;2321;p12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22" name="Google Shape;2322;p1232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p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244;p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" name="Google Shape;245;p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" name="Google Shape;246;p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" name="Google Shape;247;p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" name="Google Shape;248;p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9" name="Google Shape;249;p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0" name="Google Shape;250;p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1" name="Google Shape;251;p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2" name="Google Shape;252;p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253;p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4" name="Google Shape;254;p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">
    <p:spTree>
      <p:nvGrpSpPr>
        <p:cNvPr id="1" name="Shape 2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" name="Google Shape;2324;p2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25" name="Google Shape;2325;p28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2326" name="Google Shape;2326;p286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27" name="Google Shape;2327;p286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2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9" name="Google Shape;2329;p2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30" name="Google Shape;2330;p2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1" name="Google Shape;2331;p2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32" name="Google Shape;2332;p28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">
    <p:spTree>
      <p:nvGrpSpPr>
        <p:cNvPr id="1" name="Shape 2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4" name="Google Shape;2334;p2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35" name="Google Shape;2335;p28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6" name="Google Shape;2336;p28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37" name="Google Shape;2337;p288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">
    <p:spTree>
      <p:nvGrpSpPr>
        <p:cNvPr id="1" name="Shape 2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9" name="Google Shape;2339;p2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40" name="Google Shape;2340;p28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3">
    <p:spTree>
      <p:nvGrpSpPr>
        <p:cNvPr id="1" name="Shape 2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42" name="Google Shape;2342;p2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43" name="Google Shape;2343;p2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44" name="Google Shape;2344;p2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45" name="Google Shape;2345;p2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6" name="Google Shape;2346;p2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47" name="Google Shape;2347;p2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48" name="Google Shape;2348;p29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49" name="Google Shape;2349;p2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50" name="Google Shape;2350;p2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51" name="Google Shape;2351;p2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2">
    <p:spTree>
      <p:nvGrpSpPr>
        <p:cNvPr id="1" name="Shape 2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3" name="Google Shape;2353;p29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54" name="Google Shape;2354;p29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55" name="Google Shape;2355;p29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56" name="Google Shape;2356;p29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7" name="Google Shape;2357;p29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58" name="Google Shape;2358;p29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359" name="Google Shape;2359;p2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 2">
    <p:spTree>
      <p:nvGrpSpPr>
        <p:cNvPr id="1" name="Shape 2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1" name="Google Shape;2361;p12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62" name="Google Shape;2362;p123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2363" name="Google Shape;2363;p1233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64" name="Google Shape;2364;p1233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 2">
    <p:spTree>
      <p:nvGrpSpPr>
        <p:cNvPr id="1" name="Shape 2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6" name="Google Shape;2366;p2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2367" name="Google Shape;2367;p293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8" name="Google Shape;2368;p2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69" name="Google Shape;2369;p293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 2">
    <p:spTree>
      <p:nvGrpSpPr>
        <p:cNvPr id="1" name="Shape 2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1" name="Google Shape;2371;p2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72" name="Google Shape;2372;p29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2373" name="Google Shape;2373;p294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74" name="Google Shape;2374;p294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 2">
    <p:spTree>
      <p:nvGrpSpPr>
        <p:cNvPr id="1" name="Shape 2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6" name="Google Shape;2376;p2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77" name="Google Shape;2377;p2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78" name="Google Shape;2378;p2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79" name="Google Shape;2379;p29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" name="Google Shape;256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7" name="Google Shape;257;p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8" name="Google Shape;258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9" name="Google Shape;259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260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1" name="Google Shape;261;p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2" name="Google Shape;262;p8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3" name="Google Shape;263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" name="Google Shape;264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" name="Google Shape;265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 2">
    <p:spTree>
      <p:nvGrpSpPr>
        <p:cNvPr id="1" name="Shape 2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1" name="Google Shape;2381;p2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82" name="Google Shape;2382;p29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83" name="Google Shape;2383;p29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4" name="Google Shape;2384;p296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 2">
    <p:spTree>
      <p:nvGrpSpPr>
        <p:cNvPr id="1" name="Shape 2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6" name="Google Shape;2386;p2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87" name="Google Shape;2387;p29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11">
    <p:spTree>
      <p:nvGrpSpPr>
        <p:cNvPr id="1" name="Shape 2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9" name="Google Shape;2389;p29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90" name="Google Shape;2390;p29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1" name="Google Shape;2391;p29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92" name="Google Shape;2392;p2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3" name="Google Shape;2393;p2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94" name="Google Shape;2394;p29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95" name="Google Shape;2395;p29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96" name="Google Shape;2396;p29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397" name="Google Shape;2397;p2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2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9" name="Google Shape;2399;p299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0" name="Google Shape;2400;p299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1" name="Google Shape;2401;p299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2" name="Google Shape;2402;p299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3" name="Google Shape;2403;p2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04" name="Google Shape;2404;p299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8">
    <p:spTree>
      <p:nvGrpSpPr>
        <p:cNvPr id="1" name="Shape 2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" name="Google Shape;2406;p30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7" name="Google Shape;2407;p30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8" name="Google Shape;2408;p30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9" name="Google Shape;2409;p30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410" name="Google Shape;2410;p3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8">
    <p:spTree>
      <p:nvGrpSpPr>
        <p:cNvPr id="1" name="Shape 2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2" name="Google Shape;2412;p30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413" name="Google Shape;2413;p3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414" name="Google Shape;2414;p30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15" name="Google Shape;2415;p30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16" name="Google Shape;2416;p30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8">
    <p:spTree>
      <p:nvGrpSpPr>
        <p:cNvPr id="1" name="Shape 2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8" name="Google Shape;2418;p30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19" name="Google Shape;2419;p30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20" name="Google Shape;2420;p30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21" name="Google Shape;2421;p30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22" name="Google Shape;2422;p30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423" name="Google Shape;2423;p3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5" name="Google Shape;2425;p303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6" name="Google Shape;2426;p303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2427" name="Google Shape;2427;p3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28" name="Google Shape;2428;p3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9" name="Google Shape;2429;p3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2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1" name="Google Shape;2431;p304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2" name="Google Shape;2432;p304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2433" name="Google Shape;2433;p304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2434" name="Google Shape;2434;p30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35" name="Google Shape;2435;p3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6" name="Google Shape;2436;p3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2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8" name="Google Shape;2438;p305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39" name="Google Shape;2439;p305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40" name="Google Shape;2440;p305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41" name="Google Shape;2441;p305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42" name="Google Shape;2442;p305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43" name="Google Shape;2443;p305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44" name="Google Shape;2444;p305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45" name="Google Shape;2445;p305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46" name="Google Shape;2446;p3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69" name="Google Shape;269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0" name="Google Shape;270;p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1" name="Google Shape;271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2" name="Google Shape;272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273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4" name="Google Shape;274;p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6" name="Google Shape;276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2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8" name="Google Shape;2448;p3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9" name="Google Shape;2449;p3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0" name="Google Shape;2450;p3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51" name="Google Shape;2451;p3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52" name="Google Shape;2452;p3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53" name="Google Shape;2453;p3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54" name="Google Shape;2454;p3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55" name="Google Shape;2455;p3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56" name="Google Shape;2456;p3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57" name="Google Shape;2457;p3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8" name="Google Shape;2458;p3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459" name="Google Shape;2459;p30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2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1" name="Google Shape;2461;p307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62" name="Google Shape;2462;p307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63" name="Google Shape;2463;p30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4" name="Google Shape;2464;p307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65" name="Google Shape;2465;p30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6" name="Google Shape;2466;p30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67" name="Google Shape;2467;p307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68" name="Google Shape;2468;p30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69" name="Google Shape;2469;p3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4">
    <p:spTree>
      <p:nvGrpSpPr>
        <p:cNvPr id="1" name="Shape 2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71" name="Google Shape;2471;p3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72" name="Google Shape;2472;p3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73" name="Google Shape;2473;p3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74" name="Google Shape;2474;p3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5" name="Google Shape;2475;p3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76" name="Google Shape;2476;p3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77" name="Google Shape;2477;p3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78" name="Google Shape;2478;p3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9" name="Google Shape;2479;p3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0" name="Google Shape;2480;p3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3">
    <p:spTree>
      <p:nvGrpSpPr>
        <p:cNvPr id="1" name="Shape 2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2" name="Google Shape;2482;p3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83" name="Google Shape;2483;p3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484" name="Google Shape;2484;p3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485" name="Google Shape;2485;p3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6" name="Google Shape;2486;p3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87" name="Google Shape;2487;p3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488" name="Google Shape;2488;p3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3">
    <p:spTree>
      <p:nvGrpSpPr>
        <p:cNvPr id="1" name="Shape 2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0" name="Google Shape;2490;p310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91" name="Google Shape;2491;p310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92" name="Google Shape;2492;p310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93" name="Google Shape;2493;p310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94" name="Google Shape;2494;p310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95" name="Google Shape;2495;p310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96" name="Google Shape;2496;p310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97" name="Google Shape;2497;p310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98" name="Google Shape;2498;p3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7">
    <p:spTree>
      <p:nvGrpSpPr>
        <p:cNvPr id="1" name="Shape 2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0" name="Google Shape;2500;p3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01" name="Google Shape;2501;p3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2" name="Google Shape;2502;p3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03" name="Google Shape;2503;p3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04" name="Google Shape;2504;p3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05" name="Google Shape;2505;p3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06" name="Google Shape;2506;p3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07" name="Google Shape;2507;p3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08" name="Google Shape;2508;p3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09" name="Google Shape;2509;p3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0" name="Google Shape;2510;p3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11" name="Google Shape;2511;p3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3">
    <p:spTree>
      <p:nvGrpSpPr>
        <p:cNvPr id="1" name="Shape 2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3" name="Google Shape;2513;p3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14" name="Google Shape;2514;p3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15" name="Google Shape;2515;p3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16" name="Google Shape;2516;p3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7" name="Google Shape;2517;p3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18" name="Google Shape;2518;p3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19" name="Google Shape;2519;p3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20" name="Google Shape;2520;p3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21" name="Google Shape;2521;p3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22" name="Google Shape;2522;p3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3" name="Google Shape;2523;p3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24" name="Google Shape;2524;p3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8">
    <p:spTree>
      <p:nvGrpSpPr>
        <p:cNvPr id="1" name="Shape 2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6" name="Google Shape;2526;p3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7" name="Google Shape;2527;p3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28" name="Google Shape;2528;p3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29" name="Google Shape;2529;p3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30" name="Google Shape;2530;p3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31" name="Google Shape;2531;p3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32" name="Google Shape;2532;p3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33" name="Google Shape;2533;p3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34" name="Google Shape;2534;p3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35" name="Google Shape;2535;p3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6" name="Google Shape;2536;p3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37" name="Google Shape;2537;p3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4">
    <p:spTree>
      <p:nvGrpSpPr>
        <p:cNvPr id="1" name="Shape 2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9" name="Google Shape;2539;p3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0" name="Google Shape;2540;p3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41" name="Google Shape;2541;p3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42" name="Google Shape;2542;p3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43" name="Google Shape;2543;p3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44" name="Google Shape;2544;p3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45" name="Google Shape;2545;p3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46" name="Google Shape;2546;p3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47" name="Google Shape;2547;p3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48" name="Google Shape;2548;p3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49" name="Google Shape;2549;p3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50" name="Google Shape;2550;p3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8">
    <p:spTree>
      <p:nvGrpSpPr>
        <p:cNvPr id="1" name="Shape 2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2" name="Google Shape;2552;p31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53" name="Google Shape;2553;p31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54" name="Google Shape;2554;p31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555" name="Google Shape;2555;p3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556" name="Google Shape;2556;p31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557" name="Google Shape;2557;p3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8" name="Google Shape;2558;p3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59" name="Google Shape;2559;p3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9" name="Google Shape;279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0" name="Google Shape;280;p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1" name="Google Shape;281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2" name="Google Shape;282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283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4" name="Google Shape;284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5" name="Google Shape;285;p8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6" name="Google Shape;286;p8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7" name="Google Shape;287;p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8" name="Google Shape;288;p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" name="Google Shape;289;p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0" name="Google Shape;290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1" name="Google Shape;291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9">
    <p:bg>
      <p:bgPr>
        <a:solidFill>
          <a:schemeClr val="lt2"/>
        </a:solidFill>
        <a:effectLst/>
      </p:bgPr>
    </p:bg>
    <p:spTree>
      <p:nvGrpSpPr>
        <p:cNvPr id="1" name="Shape 2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1" name="Google Shape;2561;p3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562" name="Google Shape;2562;p3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3" name="Google Shape;2563;p3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4" name="Google Shape;2564;p3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65" name="Google Shape;2565;p3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566" name="Google Shape;2566;p3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67" name="Google Shape;2567;p3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7">
    <p:spTree>
      <p:nvGrpSpPr>
        <p:cNvPr id="1" name="Shape 2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9" name="Google Shape;2569;p3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570" name="Google Shape;2570;p3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71" name="Google Shape;2571;p3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572" name="Google Shape;2572;p3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3" name="Google Shape;2573;p3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74" name="Google Shape;2574;p3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575" name="Google Shape;2575;p3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9">
    <p:spTree>
      <p:nvGrpSpPr>
        <p:cNvPr id="1" name="Shape 2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7" name="Google Shape;2577;p3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78" name="Google Shape;2578;p3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79" name="Google Shape;2579;p3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80" name="Google Shape;2580;p3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81" name="Google Shape;2581;p3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82" name="Google Shape;2582;p3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83" name="Google Shape;2583;p3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84" name="Google Shape;2584;p3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85" name="Google Shape;2585;p3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86" name="Google Shape;2586;p3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7" name="Google Shape;2587;p3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88" name="Google Shape;2588;p3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0">
    <p:spTree>
      <p:nvGrpSpPr>
        <p:cNvPr id="1" name="Shape 2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0" name="Google Shape;2590;p3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91" name="Google Shape;2591;p3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92" name="Google Shape;2592;p3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3" name="Google Shape;2593;p3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94" name="Google Shape;2594;p3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95" name="Google Shape;2595;p3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96" name="Google Shape;2596;p3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97" name="Google Shape;2597;p3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98" name="Google Shape;2598;p3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99" name="Google Shape;2599;p3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0" name="Google Shape;2600;p3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01" name="Google Shape;2601;p31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1">
    <p:spTree>
      <p:nvGrpSpPr>
        <p:cNvPr id="1" name="Shape 2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3" name="Google Shape;2603;p3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04" name="Google Shape;2604;p3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05" name="Google Shape;2605;p3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06" name="Google Shape;2606;p3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07" name="Google Shape;2607;p3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08" name="Google Shape;2608;p3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09" name="Google Shape;2609;p3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10" name="Google Shape;2610;p3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11" name="Google Shape;2611;p3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12" name="Google Shape;2612;p3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3" name="Google Shape;2613;p3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14" name="Google Shape;2614;p32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2">
    <p:spTree>
      <p:nvGrpSpPr>
        <p:cNvPr id="1" name="Shape 2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6" name="Google Shape;2616;p3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17" name="Google Shape;2617;p3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8" name="Google Shape;2618;p3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19" name="Google Shape;2619;p3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20" name="Google Shape;2620;p3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21" name="Google Shape;2621;p3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22" name="Google Shape;2622;p3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23" name="Google Shape;2623;p3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24" name="Google Shape;2624;p3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25" name="Google Shape;2625;p3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6" name="Google Shape;2626;p3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27" name="Google Shape;2627;p3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9">
    <p:spTree>
      <p:nvGrpSpPr>
        <p:cNvPr id="1" name="Shape 2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29" name="Google Shape;2629;p3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30" name="Google Shape;2630;p3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31" name="Google Shape;2631;p3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32" name="Google Shape;2632;p3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3" name="Google Shape;2633;p3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34" name="Google Shape;2634;p3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35" name="Google Shape;2635;p3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36" name="Google Shape;2636;p3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37" name="Google Shape;2637;p3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38" name="Google Shape;2638;p3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6">
    <p:spTree>
      <p:nvGrpSpPr>
        <p:cNvPr id="1" name="Shape 2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0" name="Google Shape;2640;p3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41" name="Google Shape;2641;p3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642" name="Google Shape;2642;p3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43" name="Google Shape;2643;p3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44" name="Google Shape;2644;p3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45" name="Google Shape;2645;p3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6" name="Google Shape;2646;p3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47" name="Google Shape;2647;p32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48" name="Google Shape;2648;p32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9" name="Google Shape;2649;p3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0" name="Google Shape;2650;p3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6">
    <p:spTree>
      <p:nvGrpSpPr>
        <p:cNvPr id="1" name="Shape 2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52" name="Google Shape;2652;p3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53" name="Google Shape;2653;p3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54" name="Google Shape;2654;p3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55" name="Google Shape;2655;p3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6" name="Google Shape;2656;p3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57" name="Google Shape;2657;p3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58" name="Google Shape;2658;p32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659" name="Google Shape;2659;p32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60" name="Google Shape;2660;p32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661" name="Google Shape;2661;p32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62" name="Google Shape;2662;p3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63" name="Google Shape;2663;p3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64" name="Google Shape;2664;p3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6">
    <p:spTree>
      <p:nvGrpSpPr>
        <p:cNvPr id="1" name="Shape 2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6" name="Google Shape;2666;p3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67" name="Google Shape;2667;p3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68" name="Google Shape;2668;p3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69" name="Google Shape;2669;p3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0" name="Google Shape;2670;p3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71" name="Google Shape;2671;p3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72" name="Google Shape;2672;p3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73" name="Google Shape;2673;p3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74" name="Google Shape;2674;p3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3" name="Google Shape;293;p1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4" name="Google Shape;294;p11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5" name="Google Shape;295;p1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6" name="Google Shape;296;p1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8" name="Google Shape;298;p11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" name="Google Shape;299;p1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0" name="Google Shape;300;p1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1" name="Google Shape;301;p1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7">
    <p:spTree>
      <p:nvGrpSpPr>
        <p:cNvPr id="1" name="Shape 2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76" name="Google Shape;2676;p32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677" name="Google Shape;2677;p32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8" name="Google Shape;2678;p32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79" name="Google Shape;2679;p32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80" name="Google Shape;2680;p32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81" name="Google Shape;2681;p32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82" name="Google Shape;2682;p3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83" name="Google Shape;2683;p3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7">
    <p:spTree>
      <p:nvGrpSpPr>
        <p:cNvPr id="1" name="Shape 2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5" name="Google Shape;2685;p3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86" name="Google Shape;2686;p3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87" name="Google Shape;2687;p3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88" name="Google Shape;2688;p3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89" name="Google Shape;2689;p3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90" name="Google Shape;2690;p3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91" name="Google Shape;2691;p3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2" name="Google Shape;2692;p3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99" name="Google Shape;2699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00" name="Google Shape;2700;p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01" name="Google Shape;2701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02" name="Google Shape;2702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3" name="Google Shape;2703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04" name="Google Shape;2704;p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5" name="Google Shape;2705;p4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06" name="Google Shape;2706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07" name="Google Shape;2707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08" name="Google Shape;2708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2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0" name="Google Shape;2710;p47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11" name="Google Shape;2711;p47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12" name="Google Shape;2712;p47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713" name="Google Shape;2713;p4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714" name="Google Shape;2714;p47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715" name="Google Shape;2715;p4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6" name="Google Shape;2716;p47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717" name="Google Shape;2717;p4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2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19" name="Google Shape;2719;p47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720" name="Google Shape;2720;p47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1" name="Google Shape;2721;p4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2" name="Google Shape;2722;p47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723" name="Google Shape;2723;p4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724" name="Google Shape;2724;p47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25" name="Google Shape;2725;p47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2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7" name="Google Shape;2727;p4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728" name="Google Shape;2728;p4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729" name="Google Shape;2729;p4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730" name="Google Shape;2730;p4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1" name="Google Shape;2731;p4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32" name="Google Shape;2732;p4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733" name="Google Shape;2733;p4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27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5" name="Google Shape;2735;p4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6" name="Google Shape;2736;p4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37" name="Google Shape;2737;p4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38" name="Google Shape;2738;p4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39" name="Google Shape;2739;p4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40" name="Google Shape;2740;p4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41" name="Google Shape;2741;p4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42" name="Google Shape;2742;p4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43" name="Google Shape;2743;p4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44" name="Google Shape;2744;p4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5" name="Google Shape;2745;p4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746" name="Google Shape;2746;p4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2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8" name="Google Shape;2748;p4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9" name="Google Shape;2749;p48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750" name="Google Shape;2750;p4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51" name="Google Shape;2751;p4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52" name="Google Shape;2752;p4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53" name="Google Shape;2753;p4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4" name="Google Shape;2754;p4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55" name="Google Shape;2755;p48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6" name="Google Shape;2756;p48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57" name="Google Shape;2757;p4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58" name="Google Shape;2758;p4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2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60" name="Google Shape;2760;p4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61" name="Google Shape;2761;p4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62" name="Google Shape;2762;p4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63" name="Google Shape;2763;p4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4" name="Google Shape;2764;p4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65" name="Google Shape;2765;p4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66" name="Google Shape;2766;p48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767" name="Google Shape;2767;p48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68" name="Google Shape;2768;p48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769" name="Google Shape;2769;p48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70" name="Google Shape;2770;p4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71" name="Google Shape;2771;p4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2" name="Google Shape;2772;p4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7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74" name="Google Shape;2774;p4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75" name="Google Shape;2775;p4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76" name="Google Shape;2776;p4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77" name="Google Shape;2777;p4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78" name="Google Shape;2778;p4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79" name="Google Shape;2779;p4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80" name="Google Shape;2780;p4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81" name="Google Shape;2781;p4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82" name="Google Shape;2782;p4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3" name="Google Shape;303;p8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04" name="Google Shape;304;p8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305;p8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6" name="Google Shape;306;p8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" name="Google Shape;307;p8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8" name="Google Shape;308;p8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09" name="Google Shape;309;p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10" name="Google Shape;310;p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84" name="Google Shape;2784;p48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785" name="Google Shape;2785;p48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6" name="Google Shape;2786;p48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87" name="Google Shape;2787;p48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88" name="Google Shape;2788;p48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89" name="Google Shape;2789;p48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790" name="Google Shape;2790;p4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791" name="Google Shape;2791;p48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3" name="Google Shape;2793;p4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94" name="Google Shape;2794;p4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95" name="Google Shape;2795;p4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96" name="Google Shape;2796;p4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97" name="Google Shape;2797;p4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98" name="Google Shape;2798;p4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99" name="Google Shape;2799;p4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0" name="Google Shape;2800;p4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28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2" name="Google Shape;2802;p48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03" name="Google Shape;2803;p48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04" name="Google Shape;2804;p48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05" name="Google Shape;2805;p4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06" name="Google Shape;2806;p4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07" name="Google Shape;2807;p4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08" name="Google Shape;2808;p4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09" name="Google Shape;2809;p4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10" name="Google Shape;2810;p4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11" name="Google Shape;2811;p4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2" name="Google Shape;2812;p4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13" name="Google Shape;2813;p48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">
  <p:cSld name="1_Cover">
    <p:spTree>
      <p:nvGrpSpPr>
        <p:cNvPr id="1" name="Shape 2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5" name="Google Shape;2815;p4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16" name="Google Shape;2816;p4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17" name="Google Shape;2817;p4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818" name="Google Shape;2818;p4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819" name="Google Shape;2819;p4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20" name="Google Shape;2820;p4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1" name="Google Shape;2821;p4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22" name="Google Shape;2822;p4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Divider">
  <p:cSld name="3_Divider">
    <p:bg>
      <p:bgPr>
        <a:solidFill>
          <a:schemeClr val="lt2"/>
        </a:solidFill>
        <a:effectLst/>
      </p:bgPr>
    </p:bg>
    <p:spTree>
      <p:nvGrpSpPr>
        <p:cNvPr id="1" name="Shape 2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24" name="Google Shape;2824;p4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825" name="Google Shape;2825;p4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6" name="Google Shape;2826;p4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7" name="Google Shape;2827;p4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28" name="Google Shape;2828;p4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829" name="Google Shape;2829;p4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0" name="Google Shape;2830;p4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Photo Slide">
  <p:cSld name="2_Photo Slide">
    <p:spTree>
      <p:nvGrpSpPr>
        <p:cNvPr id="1" name="Shape 2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2" name="Google Shape;2832;p4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833" name="Google Shape;2833;p4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834" name="Google Shape;2834;p4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835" name="Google Shape;2835;p4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6" name="Google Shape;2836;p4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37" name="Google Shape;2837;p4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838" name="Google Shape;2838;p4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28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0" name="Google Shape;2840;p4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41" name="Google Shape;2841;p4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42" name="Google Shape;2842;p4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43" name="Google Shape;2843;p4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44" name="Google Shape;2844;p4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45" name="Google Shape;2845;p4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46" name="Google Shape;2846;p4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47" name="Google Shape;2847;p4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48" name="Google Shape;2848;p4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49" name="Google Shape;2849;p4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0" name="Google Shape;2850;p4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51" name="Google Shape;2851;p4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2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3" name="Google Shape;2853;p4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4" name="Google Shape;2854;p4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55" name="Google Shape;2855;p4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56" name="Google Shape;2856;p4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57" name="Google Shape;2857;p4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58" name="Google Shape;2858;p4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59" name="Google Shape;2859;p4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60" name="Google Shape;2860;p4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61" name="Google Shape;2861;p4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62" name="Google Shape;2862;p4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3" name="Google Shape;2863;p4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64" name="Google Shape;2864;p4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spTree>
      <p:nvGrpSpPr>
        <p:cNvPr id="1" name="Shape 28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6" name="Google Shape;2866;p4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67" name="Google Shape;2867;p4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68" name="Google Shape;2868;p4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69" name="Google Shape;2869;p4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0" name="Google Shape;2870;p4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71" name="Google Shape;2871;p4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2" name="Google Shape;2872;p4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73" name="Google Shape;2873;p4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74" name="Google Shape;2874;p4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75" name="Google Shape;2875;p4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Content">
  <p:cSld name="2_Two Content">
    <p:spTree>
      <p:nvGrpSpPr>
        <p:cNvPr id="1" name="Shape 2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7" name="Google Shape;2877;p4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8" name="Google Shape;2878;p4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879" name="Google Shape;2879;p4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80" name="Google Shape;2880;p4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81" name="Google Shape;2881;p4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82" name="Google Shape;2882;p4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3" name="Google Shape;2883;p4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84" name="Google Shape;2884;p4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85" name="Google Shape;2885;p4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86" name="Google Shape;2886;p4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87" name="Google Shape;2887;p4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p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3" name="Google Shape;313;p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4" name="Google Shape;314;p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5" name="Google Shape;315;p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6" name="Google Shape;316;p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7" name="Google Shape;317;p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8" name="Google Shape;318;p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mparison">
  <p:cSld name="1_Comparison">
    <p:spTree>
      <p:nvGrpSpPr>
        <p:cNvPr id="1" name="Shape 2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89" name="Google Shape;2889;p4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90" name="Google Shape;2890;p4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91" name="Google Shape;2891;p4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92" name="Google Shape;2892;p4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3" name="Google Shape;2893;p4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94" name="Google Shape;2894;p4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95" name="Google Shape;2895;p4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96" name="Google Shape;2896;p4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7" name="Google Shape;2897;p4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98" name="Google Shape;2898;p4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9" name="Google Shape;2899;p4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00" name="Google Shape;2900;p4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01" name="Google Shape;2901;p4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spTree>
      <p:nvGrpSpPr>
        <p:cNvPr id="1" name="Shape 2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03" name="Google Shape;2903;p4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04" name="Google Shape;2904;p4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05" name="Google Shape;2905;p4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06" name="Google Shape;2906;p4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7" name="Google Shape;2907;p4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08" name="Google Shape;2908;p4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09" name="Google Shape;2909;p4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10" name="Google Shape;2910;p4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11" name="Google Shape;2911;p4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nd">
  <p:cSld name="1_End">
    <p:spTree>
      <p:nvGrpSpPr>
        <p:cNvPr id="1" name="Shape 2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13" name="Google Shape;2913;p4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914" name="Google Shape;2914;p4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5" name="Google Shape;2915;p4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16" name="Google Shape;2916;p4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17" name="Google Shape;2917;p4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18" name="Google Shape;2918;p4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919" name="Google Shape;2919;p4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920" name="Google Shape;2920;p4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>
  <p:cSld name="1_Blank">
    <p:spTree>
      <p:nvGrpSpPr>
        <p:cNvPr id="1" name="Shape 2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2" name="Google Shape;2922;p4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23" name="Google Shape;2923;p4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24" name="Google Shape;2924;p4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25" name="Google Shape;2925;p4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26" name="Google Shape;2926;p4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27" name="Google Shape;2927;p4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28" name="Google Shape;2928;p4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9" name="Google Shape;2929;p4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ver">
  <p:cSld name="2_Cover">
    <p:spTree>
      <p:nvGrpSpPr>
        <p:cNvPr id="1" name="Shape 29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1" name="Google Shape;2931;p49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32" name="Google Shape;2932;p4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33" name="Google Shape;2933;p4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34" name="Google Shape;2934;p4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935" name="Google Shape;2935;p4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936" name="Google Shape;2936;p4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7" name="Google Shape;2937;p4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38" name="Google Shape;2938;p4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Divider">
  <p:cSld name="4_Divider">
    <p:bg>
      <p:bgPr>
        <a:solidFill>
          <a:schemeClr val="lt2"/>
        </a:solidFill>
        <a:effectLst/>
      </p:bgPr>
    </p:bg>
    <p:spTree>
      <p:nvGrpSpPr>
        <p:cNvPr id="1" name="Shape 2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40" name="Google Shape;2940;p49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941" name="Google Shape;2941;p4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2" name="Google Shape;2942;p4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3" name="Google Shape;2943;p4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44" name="Google Shape;2944;p4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45" name="Google Shape;2945;p49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46" name="Google Shape;2946;p49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2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8" name="Google Shape;2948;p49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49" name="Google Shape;2949;p4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50" name="Google Shape;2950;p4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51" name="Google Shape;2951;p4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52" name="Google Shape;2952;p4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53" name="Google Shape;2953;p4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54" name="Google Shape;2954;p4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55" name="Google Shape;2955;p4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56" name="Google Shape;2956;p4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57" name="Google Shape;2957;p4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8" name="Google Shape;2958;p4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59" name="Google Shape;2959;p4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spTree>
      <p:nvGrpSpPr>
        <p:cNvPr id="1" name="Shape 29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1" name="Google Shape;2961;p5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62" name="Google Shape;2962;p5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63" name="Google Shape;2963;p5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64" name="Google Shape;2964;p5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5" name="Google Shape;2965;p5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66" name="Google Shape;2966;p5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67" name="Google Shape;2967;p50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68" name="Google Shape;2968;p5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69" name="Google Shape;2969;p5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70" name="Google Shape;2970;p5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Content">
  <p:cSld name="3_Two Content">
    <p:spTree>
      <p:nvGrpSpPr>
        <p:cNvPr id="1" name="Shape 29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2" name="Google Shape;2972;p5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3" name="Google Shape;2973;p50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974" name="Google Shape;2974;p5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75" name="Google Shape;2975;p5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76" name="Google Shape;2976;p5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77" name="Google Shape;2977;p5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8" name="Google Shape;2978;p5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79" name="Google Shape;2979;p50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80" name="Google Shape;2980;p50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81" name="Google Shape;2981;p5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82" name="Google Shape;2982;p5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mparison">
  <p:cSld name="2_Comparison">
    <p:spTree>
      <p:nvGrpSpPr>
        <p:cNvPr id="1" name="Shape 2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84" name="Google Shape;2984;p5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85" name="Google Shape;2985;p5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86" name="Google Shape;2986;p5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87" name="Google Shape;2987;p5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8" name="Google Shape;2988;p5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89" name="Google Shape;2989;p5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0" name="Google Shape;2990;p50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991" name="Google Shape;2991;p50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92" name="Google Shape;2992;p50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993" name="Google Shape;2993;p50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94" name="Google Shape;2994;p5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95" name="Google Shape;2995;p5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96" name="Google Shape;2996;p5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oogle Shape;41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" name="Google Shape;42;p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" name="Google Shape;43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" name="Google Shape;44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" name="Google Shape;45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6" name="Google Shape;46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" name="Google Shape;48;p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" name="Google Shape;49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" name="Google Shape;50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2" name="Google Shape;322;p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3" name="Google Shape;323;p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4" name="Google Shape;324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5" name="Google Shape;325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6" name="Google Shape;326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7" name="Google Shape;327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8" name="Google Shape;328;p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9" name="Google Shape;329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0" name="Google Shape;330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1" name="Google Shape;331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32" name="Google Shape;332;p8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Photo Slide">
  <p:cSld name="3_Photo Slide">
    <p:spTree>
      <p:nvGrpSpPr>
        <p:cNvPr id="1" name="Shape 2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8" name="Google Shape;2998;p50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999" name="Google Shape;2999;p50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00" name="Google Shape;3000;p50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001" name="Google Shape;3001;p50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2" name="Google Shape;3002;p50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03" name="Google Shape;3003;p50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004" name="Google Shape;3004;p5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End">
  <p:cSld name="2_End">
    <p:spTree>
      <p:nvGrpSpPr>
        <p:cNvPr id="1" name="Shape 3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06" name="Google Shape;3006;p50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007" name="Google Shape;3007;p50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8" name="Google Shape;3008;p50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09" name="Google Shape;3009;p50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10" name="Google Shape;3010;p50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11" name="Google Shape;3011;p50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012" name="Google Shape;3012;p5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013" name="Google Shape;3013;p5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30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5" name="Google Shape;3015;p5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16" name="Google Shape;3016;p5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17" name="Google Shape;3017;p5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18" name="Google Shape;3018;p5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19" name="Google Shape;3019;p5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20" name="Google Shape;3020;p5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21" name="Google Shape;3021;p5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2" name="Google Shape;3022;p5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spTree>
      <p:nvGrpSpPr>
        <p:cNvPr id="1" name="Shape 3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24" name="Google Shape;3024;p5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25" name="Google Shape;3025;p5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26" name="Google Shape;3026;p5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27" name="Google Shape;3027;p5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8" name="Google Shape;3028;p5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29" name="Google Shape;3029;p5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30" name="Google Shape;3030;p5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31" name="Google Shape;3031;p5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32" name="Google Shape;3032;p5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ver">
  <p:cSld name="3_Cover">
    <p:spTree>
      <p:nvGrpSpPr>
        <p:cNvPr id="1" name="Shape 30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4" name="Google Shape;3034;p50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35" name="Google Shape;3035;p50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36" name="Google Shape;3036;p50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037" name="Google Shape;3037;p5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038" name="Google Shape;3038;p50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039" name="Google Shape;3039;p50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0" name="Google Shape;3040;p50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041" name="Google Shape;3041;p5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Divider">
  <p:cSld name="5_Divider">
    <p:bg>
      <p:bgPr>
        <a:solidFill>
          <a:schemeClr val="lt2"/>
        </a:solidFill>
        <a:effectLst/>
      </p:bgPr>
    </p:bg>
    <p:spTree>
      <p:nvGrpSpPr>
        <p:cNvPr id="1" name="Shape 3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43" name="Google Shape;3043;p50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044" name="Google Shape;3044;p50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5" name="Google Shape;3045;p5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6" name="Google Shape;3046;p50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047" name="Google Shape;3047;p5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048" name="Google Shape;3048;p50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49" name="Google Shape;3049;p50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Photo Slide">
  <p:cSld name="4_Photo Slide">
    <p:spTree>
      <p:nvGrpSpPr>
        <p:cNvPr id="1" name="Shape 3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" name="Google Shape;3051;p5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052" name="Google Shape;3052;p5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53" name="Google Shape;3053;p5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054" name="Google Shape;3054;p5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5" name="Google Shape;3055;p5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56" name="Google Shape;3056;p5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057" name="Google Shape;3057;p5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Quotation">
  <p:cSld name="5_Quotation">
    <p:spTree>
      <p:nvGrpSpPr>
        <p:cNvPr id="1" name="Shape 3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9" name="Google Shape;3059;p51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60" name="Google Shape;3060;p5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61" name="Google Shape;3061;p5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62" name="Google Shape;3062;p5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63" name="Google Shape;3063;p5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64" name="Google Shape;3064;p5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65" name="Google Shape;3065;p5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66" name="Google Shape;3066;p5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67" name="Google Shape;3067;p5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68" name="Google Shape;3068;p5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9" name="Google Shape;3069;p5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070" name="Google Shape;3070;p51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Quotation">
  <p:cSld name="6_Quotation">
    <p:spTree>
      <p:nvGrpSpPr>
        <p:cNvPr id="1" name="Shape 30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" name="Google Shape;3072;p5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3" name="Google Shape;3073;p5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74" name="Google Shape;3074;p5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75" name="Google Shape;3075;p5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76" name="Google Shape;3076;p5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77" name="Google Shape;3077;p5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78" name="Google Shape;3078;p5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79" name="Google Shape;3079;p5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80" name="Google Shape;3080;p5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81" name="Google Shape;3081;p5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2" name="Google Shape;3082;p5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083" name="Google Shape;3083;p5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3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85" name="Google Shape;3085;p5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86" name="Google Shape;3086;p5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87" name="Google Shape;3087;p5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88" name="Google Shape;3088;p5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9" name="Google Shape;3089;p5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90" name="Google Shape;3090;p5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1" name="Google Shape;3091;p5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92" name="Google Shape;3092;p5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93" name="Google Shape;3093;p5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94" name="Google Shape;3094;p5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8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5" name="Google Shape;335;p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6" name="Google Shape;336;p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7" name="Google Shape;337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8" name="Google Shape;338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9" name="Google Shape;339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0" name="Google Shape;340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1" name="Google Shape;341;p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2" name="Google Shape;342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3" name="Google Shape;343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4" name="Google Shape;344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45" name="Google Shape;345;p8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Content">
  <p:cSld name="4_Two Content">
    <p:spTree>
      <p:nvGrpSpPr>
        <p:cNvPr id="1" name="Shape 30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6" name="Google Shape;3096;p5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7" name="Google Shape;3097;p5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098" name="Google Shape;3098;p5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99" name="Google Shape;3099;p5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00" name="Google Shape;3100;p5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01" name="Google Shape;3101;p5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2" name="Google Shape;3102;p5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03" name="Google Shape;3103;p51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04" name="Google Shape;3104;p51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05" name="Google Shape;3105;p5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06" name="Google Shape;3106;p5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mparison">
  <p:cSld name="3_Comparison">
    <p:spTree>
      <p:nvGrpSpPr>
        <p:cNvPr id="1" name="Shape 3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08" name="Google Shape;3108;p5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09" name="Google Shape;3109;p5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10" name="Google Shape;3110;p5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11" name="Google Shape;3111;p5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2" name="Google Shape;3112;p5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13" name="Google Shape;3113;p5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14" name="Google Shape;3114;p51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15" name="Google Shape;3115;p51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16" name="Google Shape;3116;p51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17" name="Google Shape;3117;p51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18" name="Google Shape;3118;p5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19" name="Google Shape;3119;p5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20" name="Google Shape;3120;p5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spTree>
      <p:nvGrpSpPr>
        <p:cNvPr id="1" name="Shape 3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22" name="Google Shape;3122;p5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23" name="Google Shape;3123;p5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24" name="Google Shape;3124;p5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25" name="Google Shape;3125;p5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6" name="Google Shape;3126;p5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27" name="Google Shape;3127;p5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8" name="Google Shape;3128;p5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29" name="Google Shape;3129;p5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30" name="Google Shape;3130;p5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End">
  <p:cSld name="3_End">
    <p:spTree>
      <p:nvGrpSpPr>
        <p:cNvPr id="1" name="Shape 3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32" name="Google Shape;3132;p51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133" name="Google Shape;3133;p51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4" name="Google Shape;3134;p51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35" name="Google Shape;3135;p51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36" name="Google Shape;3136;p51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7" name="Google Shape;3137;p51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138" name="Google Shape;3138;p5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139" name="Google Shape;3139;p51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lank">
  <p:cSld name="3_Blank">
    <p:spTree>
      <p:nvGrpSpPr>
        <p:cNvPr id="1" name="Shape 3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1" name="Google Shape;3141;p5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42" name="Google Shape;3142;p5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43" name="Google Shape;3143;p5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44" name="Google Shape;3144;p5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45" name="Google Shape;3145;p5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46" name="Google Shape;3146;p5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47" name="Google Shape;3147;p5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8" name="Google Shape;3148;p5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3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Google Shape;3150;p518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51" name="Google Shape;3151;p518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3152" name="Google Shape;3152;p518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153" name="Google Shape;3153;p518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4" name="Google Shape;3154;p518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3155" name="Google Shape;3155;p5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Divider">
  <p:cSld name="6_Divider">
    <p:bg>
      <p:bgPr>
        <a:solidFill>
          <a:schemeClr val="lt2"/>
        </a:solidFill>
        <a:effectLst/>
      </p:bgPr>
    </p:bg>
    <p:spTree>
      <p:nvGrpSpPr>
        <p:cNvPr id="1" name="Shape 3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57" name="Google Shape;3157;p51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158" name="Google Shape;3158;p51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9" name="Google Shape;3159;p51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0" name="Google Shape;3160;p51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161" name="Google Shape;3161;p5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162" name="Google Shape;3162;p51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63" name="Google Shape;3163;p51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Photo Slide">
  <p:cSld name="5_Photo Slide">
    <p:spTree>
      <p:nvGrpSpPr>
        <p:cNvPr id="1" name="Shape 3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5" name="Google Shape;3165;p52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166" name="Google Shape;3166;p52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167" name="Google Shape;3167;p52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168" name="Google Shape;3168;p52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9" name="Google Shape;3169;p52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70" name="Google Shape;3170;p52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171" name="Google Shape;3171;p5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ver">
  <p:cSld name="4_Cover">
    <p:spTree>
      <p:nvGrpSpPr>
        <p:cNvPr id="1" name="Shape 3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3" name="Google Shape;3173;p52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74" name="Google Shape;3174;p52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75" name="Google Shape;3175;p52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176" name="Google Shape;3176;p5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177" name="Google Shape;3177;p52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178" name="Google Shape;3178;p52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9" name="Google Shape;3179;p52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180" name="Google Shape;3180;p5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Content">
  <p:cSld name="7_Title and Content">
    <p:spTree>
      <p:nvGrpSpPr>
        <p:cNvPr id="1" name="Shape 3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82" name="Google Shape;3182;p5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83" name="Google Shape;3183;p5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84" name="Google Shape;3184;p5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85" name="Google Shape;3185;p5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6" name="Google Shape;3186;p5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87" name="Google Shape;3187;p5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88" name="Google Shape;3188;p5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89" name="Google Shape;3189;p5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90" name="Google Shape;3190;p5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91" name="Google Shape;3191;p5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p119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8" name="Google Shape;348;p11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9" name="Google Shape;349;p11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50" name="Google Shape;350;p11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51" name="Google Shape;351;p11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52" name="Google Shape;352;p11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1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4" name="Google Shape;354;p11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Content">
  <p:cSld name="5_Two Content">
    <p:spTree>
      <p:nvGrpSpPr>
        <p:cNvPr id="1" name="Shape 3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3" name="Google Shape;3193;p5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94" name="Google Shape;3194;p5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195" name="Google Shape;3195;p5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96" name="Google Shape;3196;p5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97" name="Google Shape;3197;p5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98" name="Google Shape;3198;p5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9" name="Google Shape;3199;p5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00" name="Google Shape;3200;p52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01" name="Google Shape;3201;p52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02" name="Google Shape;3202;p5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03" name="Google Shape;3203;p5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mparison">
  <p:cSld name="4_Comparison">
    <p:spTree>
      <p:nvGrpSpPr>
        <p:cNvPr id="1" name="Shape 3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05" name="Google Shape;3205;p5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06" name="Google Shape;3206;p5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07" name="Google Shape;3207;p5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08" name="Google Shape;3208;p5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9" name="Google Shape;3209;p5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10" name="Google Shape;3210;p5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11" name="Google Shape;3211;p52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12" name="Google Shape;3212;p52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13" name="Google Shape;3213;p52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14" name="Google Shape;3214;p52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15" name="Google Shape;3215;p5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16" name="Google Shape;3216;p5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17" name="Google Shape;3217;p5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Quotation">
  <p:cSld name="7_Quotation">
    <p:spTree>
      <p:nvGrpSpPr>
        <p:cNvPr id="1" name="Shape 3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9" name="Google Shape;3219;p5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20" name="Google Shape;3220;p5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21" name="Google Shape;3221;p5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22" name="Google Shape;3222;p5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23" name="Google Shape;3223;p5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24" name="Google Shape;3224;p5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25" name="Google Shape;3225;p5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26" name="Google Shape;3226;p5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27" name="Google Shape;3227;p5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28" name="Google Shape;3228;p5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9" name="Google Shape;3229;p5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30" name="Google Shape;3230;p52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End">
  <p:cSld name="4_End">
    <p:spTree>
      <p:nvGrpSpPr>
        <p:cNvPr id="1" name="Shape 3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32" name="Google Shape;3232;p52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233" name="Google Shape;3233;p52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4" name="Google Shape;3234;p52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35" name="Google Shape;3235;p52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36" name="Google Shape;3236;p52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37" name="Google Shape;3237;p52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238" name="Google Shape;3238;p5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239" name="Google Shape;3239;p5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spTree>
      <p:nvGrpSpPr>
        <p:cNvPr id="1" name="Shape 3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41" name="Google Shape;3241;p5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42" name="Google Shape;3242;p5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43" name="Google Shape;3243;p5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44" name="Google Shape;3244;p5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5" name="Google Shape;3245;p5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46" name="Google Shape;3246;p5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47" name="Google Shape;3247;p5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48" name="Google Shape;3248;p5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49" name="Google Shape;3249;p5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Blank">
  <p:cSld name="4_Blank">
    <p:spTree>
      <p:nvGrpSpPr>
        <p:cNvPr id="1" name="Shape 3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1" name="Google Shape;3251;p5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52" name="Google Shape;3252;p5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53" name="Google Shape;3253;p5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54" name="Google Shape;3254;p5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55" name="Google Shape;3255;p5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56" name="Google Shape;3256;p5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57" name="Google Shape;3257;p5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8" name="Google Shape;3258;p5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Quotation">
  <p:cSld name="9_Quotation">
    <p:spTree>
      <p:nvGrpSpPr>
        <p:cNvPr id="1" name="Shape 3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0" name="Google Shape;3260;p52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61" name="Google Shape;3261;p52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62" name="Google Shape;3262;p52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63" name="Google Shape;3263;p5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64" name="Google Shape;3264;p5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65" name="Google Shape;3265;p5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66" name="Google Shape;3266;p5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67" name="Google Shape;3267;p5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68" name="Google Shape;3268;p5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69" name="Google Shape;3269;p5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0" name="Google Shape;3270;p5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71" name="Google Shape;3271;p52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Quotation">
  <p:cSld name="10_Quotation">
    <p:spTree>
      <p:nvGrpSpPr>
        <p:cNvPr id="1" name="Shape 3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3" name="Google Shape;3273;p53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74" name="Google Shape;3274;p53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5" name="Google Shape;3275;p53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76" name="Google Shape;3276;p5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77" name="Google Shape;3277;p5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78" name="Google Shape;3278;p5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79" name="Google Shape;3279;p5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80" name="Google Shape;3280;p5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81" name="Google Shape;3281;p5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82" name="Google Shape;3282;p5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3" name="Google Shape;3283;p5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84" name="Google Shape;3284;p53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ver">
  <p:cSld name="6_Cover">
    <p:spTree>
      <p:nvGrpSpPr>
        <p:cNvPr id="1" name="Shape 3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6" name="Google Shape;3286;p53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87" name="Google Shape;3287;p53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88" name="Google Shape;3288;p53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289" name="Google Shape;3289;p53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290" name="Google Shape;3290;p53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291" name="Google Shape;3291;p53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2" name="Google Shape;3292;p53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293" name="Google Shape;3293;p5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Divider">
  <p:cSld name="8_Divider">
    <p:bg>
      <p:bgPr>
        <a:solidFill>
          <a:schemeClr val="lt2"/>
        </a:solidFill>
        <a:effectLst/>
      </p:bgPr>
    </p:bg>
    <p:spTree>
      <p:nvGrpSpPr>
        <p:cNvPr id="1" name="Shape 3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95" name="Google Shape;3295;p53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296" name="Google Shape;3296;p53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7" name="Google Shape;3297;p5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8" name="Google Shape;3298;p53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299" name="Google Shape;3299;p5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300" name="Google Shape;3300;p53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01" name="Google Shape;3301;p53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6" name="Google Shape;356;p8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57" name="Google Shape;357;p8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8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8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0" name="Google Shape;360;p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61" name="Google Shape;361;p8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2" name="Google Shape;362;p8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Photo Slide">
  <p:cSld name="7_Photo Slide">
    <p:spTree>
      <p:nvGrpSpPr>
        <p:cNvPr id="1" name="Shape 3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3" name="Google Shape;3303;p53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304" name="Google Shape;3304;p53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305" name="Google Shape;3305;p53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306" name="Google Shape;3306;p53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7" name="Google Shape;3307;p53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08" name="Google Shape;3308;p53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309" name="Google Shape;3309;p5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Quotation">
  <p:cSld name="11_Quotation">
    <p:spTree>
      <p:nvGrpSpPr>
        <p:cNvPr id="1" name="Shape 3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1" name="Google Shape;3311;p53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12" name="Google Shape;3312;p53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13" name="Google Shape;3313;p53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4" name="Google Shape;3314;p5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15" name="Google Shape;3315;p5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16" name="Google Shape;3316;p5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17" name="Google Shape;3317;p5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18" name="Google Shape;3318;p5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19" name="Google Shape;3319;p5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20" name="Google Shape;3320;p5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21" name="Google Shape;3321;p5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322" name="Google Shape;3322;p53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spTree>
      <p:nvGrpSpPr>
        <p:cNvPr id="1" name="Shape 3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24" name="Google Shape;3324;p5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25" name="Google Shape;3325;p5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26" name="Google Shape;3326;p5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27" name="Google Shape;3327;p5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28" name="Google Shape;3328;p5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29" name="Google Shape;3329;p5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30" name="Google Shape;3330;p5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31" name="Google Shape;3331;p5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32" name="Google Shape;3332;p5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33" name="Google Shape;3333;p5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Content">
  <p:cSld name="7_Two Content">
    <p:spTree>
      <p:nvGrpSpPr>
        <p:cNvPr id="1" name="Shape 3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5" name="Google Shape;3335;p5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36" name="Google Shape;3336;p5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337" name="Google Shape;3337;p5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38" name="Google Shape;3338;p5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39" name="Google Shape;3339;p5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40" name="Google Shape;3340;p5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41" name="Google Shape;3341;p5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42" name="Google Shape;3342;p53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43" name="Google Shape;3343;p53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44" name="Google Shape;3344;p5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45" name="Google Shape;3345;p5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mparison">
  <p:cSld name="6_Comparison">
    <p:spTree>
      <p:nvGrpSpPr>
        <p:cNvPr id="1" name="Shape 3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47" name="Google Shape;3347;p5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48" name="Google Shape;3348;p5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49" name="Google Shape;3349;p5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50" name="Google Shape;3350;p5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51" name="Google Shape;3351;p5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52" name="Google Shape;3352;p5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53" name="Google Shape;3353;p53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354" name="Google Shape;3354;p53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55" name="Google Shape;3355;p53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356" name="Google Shape;3356;p53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57" name="Google Shape;3357;p5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58" name="Google Shape;3358;p5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59" name="Google Shape;3359;p5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Only">
  <p:cSld name="7_Title Only">
    <p:spTree>
      <p:nvGrpSpPr>
        <p:cNvPr id="1" name="Shape 3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61" name="Google Shape;3361;p5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62" name="Google Shape;3362;p5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63" name="Google Shape;3363;p5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64" name="Google Shape;3364;p5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65" name="Google Shape;3365;p5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66" name="Google Shape;3366;p5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67" name="Google Shape;3367;p5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68" name="Google Shape;3368;p5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69" name="Google Shape;3369;p5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End">
  <p:cSld name="6_End">
    <p:spTree>
      <p:nvGrpSpPr>
        <p:cNvPr id="1" name="Shape 3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71" name="Google Shape;3371;p53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372" name="Google Shape;3372;p53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3" name="Google Shape;3373;p53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74" name="Google Shape;3374;p53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75" name="Google Shape;3375;p53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76" name="Google Shape;3376;p53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377" name="Google Shape;3377;p5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378" name="Google Shape;3378;p53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Blank">
  <p:cSld name="5_Blank">
    <p:spTree>
      <p:nvGrpSpPr>
        <p:cNvPr id="1" name="Shape 3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" name="Google Shape;3380;p5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81" name="Google Shape;3381;p5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82" name="Google Shape;3382;p5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83" name="Google Shape;3383;p5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84" name="Google Shape;3384;p5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85" name="Google Shape;3385;p5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86" name="Google Shape;3386;p5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87" name="Google Shape;3387;p5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ver">
  <p:cSld name="7_Cover">
    <p:spTree>
      <p:nvGrpSpPr>
        <p:cNvPr id="1" name="Shape 3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9" name="Google Shape;3389;p54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90" name="Google Shape;3390;p54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91" name="Google Shape;3391;p54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392" name="Google Shape;3392;p5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393" name="Google Shape;3393;p54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394" name="Google Shape;3394;p5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5" name="Google Shape;3395;p54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396" name="Google Shape;3396;p5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Divider">
  <p:cSld name="9_Divider">
    <p:bg>
      <p:bgPr>
        <a:solidFill>
          <a:schemeClr val="lt2"/>
        </a:solidFill>
        <a:effectLst/>
      </p:bgPr>
    </p:bg>
    <p:spTree>
      <p:nvGrpSpPr>
        <p:cNvPr id="1" name="Shape 3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98" name="Google Shape;3398;p54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399" name="Google Shape;3399;p54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0" name="Google Shape;3400;p5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1" name="Google Shape;3401;p54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402" name="Google Shape;3402;p5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403" name="Google Shape;3403;p54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04" name="Google Shape;3404;p54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9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65" name="Google Shape;365;p9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66" name="Google Shape;366;p9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67" name="Google Shape;367;p9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9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9" name="Google Shape;369;p9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70" name="Google Shape;370;p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Photo Slide">
  <p:cSld name="8_Photo Slide">
    <p:spTree>
      <p:nvGrpSpPr>
        <p:cNvPr id="1" name="Shape 3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6" name="Google Shape;3406;p5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407" name="Google Shape;3407;p54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408" name="Google Shape;3408;p5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409" name="Google Shape;3409;p5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0" name="Google Shape;3410;p5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11" name="Google Shape;3411;p5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412" name="Google Shape;3412;p5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Quotation">
  <p:cSld name="12_Quotation">
    <p:spTree>
      <p:nvGrpSpPr>
        <p:cNvPr id="1" name="Shape 3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4" name="Google Shape;3414;p5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15" name="Google Shape;3415;p5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16" name="Google Shape;3416;p5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17" name="Google Shape;3417;p5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18" name="Google Shape;3418;p5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19" name="Google Shape;3419;p5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20" name="Google Shape;3420;p5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21" name="Google Shape;3421;p5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22" name="Google Shape;3422;p5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23" name="Google Shape;3423;p5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24" name="Google Shape;3424;p5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425" name="Google Shape;3425;p5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spTree>
      <p:nvGrpSpPr>
        <p:cNvPr id="1" name="Shape 3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27" name="Google Shape;3427;p5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28" name="Google Shape;3428;p5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29" name="Google Shape;3429;p5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30" name="Google Shape;3430;p5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31" name="Google Shape;3431;p5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32" name="Google Shape;3432;p5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33" name="Google Shape;3433;p5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34" name="Google Shape;3434;p5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35" name="Google Shape;3435;p5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36" name="Google Shape;3436;p5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Content">
  <p:cSld name="8_Two Content">
    <p:spTree>
      <p:nvGrpSpPr>
        <p:cNvPr id="1" name="Shape 3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8" name="Google Shape;3438;p5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39" name="Google Shape;3439;p5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440" name="Google Shape;3440;p5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41" name="Google Shape;3441;p5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42" name="Google Shape;3442;p5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43" name="Google Shape;3443;p5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44" name="Google Shape;3444;p5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45" name="Google Shape;3445;p54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46" name="Google Shape;3446;p54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47" name="Google Shape;3447;p5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48" name="Google Shape;3448;p5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mparison">
  <p:cSld name="7_Comparison">
    <p:spTree>
      <p:nvGrpSpPr>
        <p:cNvPr id="1" name="Shape 3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0" name="Google Shape;3450;p5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51" name="Google Shape;3451;p5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52" name="Google Shape;3452;p5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53" name="Google Shape;3453;p5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54" name="Google Shape;3454;p5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55" name="Google Shape;3455;p5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56" name="Google Shape;3456;p54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57" name="Google Shape;3457;p54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58" name="Google Shape;3458;p54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59" name="Google Shape;3459;p54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60" name="Google Shape;3460;p5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61" name="Google Shape;3461;p5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62" name="Google Shape;3462;p5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spTree>
      <p:nvGrpSpPr>
        <p:cNvPr id="1" name="Shape 3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64" name="Google Shape;3464;p5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65" name="Google Shape;3465;p5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66" name="Google Shape;3466;p5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67" name="Google Shape;3467;p5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68" name="Google Shape;3468;p5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69" name="Google Shape;3469;p5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70" name="Google Shape;3470;p5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71" name="Google Shape;3471;p5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72" name="Google Shape;3472;p5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End">
  <p:cSld name="7_End">
    <p:spTree>
      <p:nvGrpSpPr>
        <p:cNvPr id="1" name="Shape 3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74" name="Google Shape;3474;p54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475" name="Google Shape;3475;p54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6" name="Google Shape;3476;p54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77" name="Google Shape;3477;p54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8" name="Google Shape;3478;p54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79" name="Google Shape;3479;p54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480" name="Google Shape;3480;p5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481" name="Google Shape;3481;p54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Blank">
  <p:cSld name="6_Blank">
    <p:spTree>
      <p:nvGrpSpPr>
        <p:cNvPr id="1" name="Shape 3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3" name="Google Shape;3483;p5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84" name="Google Shape;3484;p5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85" name="Google Shape;3485;p5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86" name="Google Shape;3486;p5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87" name="Google Shape;3487;p5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88" name="Google Shape;3488;p5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89" name="Google Shape;3489;p5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90" name="Google Shape;3490;p5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Quotation">
  <p:cSld name="13_Quotation">
    <p:spTree>
      <p:nvGrpSpPr>
        <p:cNvPr id="1" name="Shape 3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2" name="Google Shape;3492;p55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93" name="Google Shape;3493;p55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94" name="Google Shape;3494;p55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95" name="Google Shape;3495;p5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96" name="Google Shape;3496;p5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97" name="Google Shape;3497;p5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98" name="Google Shape;3498;p5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99" name="Google Shape;3499;p5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00" name="Google Shape;3500;p5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01" name="Google Shape;3501;p5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02" name="Google Shape;3502;p5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503" name="Google Shape;3503;p55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ver">
  <p:cSld name="8_Cover">
    <p:spTree>
      <p:nvGrpSpPr>
        <p:cNvPr id="1" name="Shape 3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5" name="Google Shape;3505;p55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06" name="Google Shape;3506;p55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07" name="Google Shape;3507;p55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508" name="Google Shape;3508;p5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509" name="Google Shape;3509;p55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510" name="Google Shape;3510;p5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1" name="Google Shape;3511;p55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12" name="Google Shape;3512;p5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Google Shape;372;p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3" name="Google Shape;373;p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" name="Google Shape;374;p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5" name="Google Shape;375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6" name="Google Shape;376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7" name="Google Shape;377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8" name="Google Shape;378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9" name="Google Shape;379;p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0" name="Google Shape;380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1" name="Google Shape;381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2" name="Google Shape;382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83" name="Google Shape;383;p9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Divider">
  <p:cSld name="10_Divider">
    <p:bg>
      <p:bgPr>
        <a:solidFill>
          <a:schemeClr val="lt2"/>
        </a:solidFill>
        <a:effectLst/>
      </p:bgPr>
    </p:bg>
    <p:spTree>
      <p:nvGrpSpPr>
        <p:cNvPr id="1" name="Shape 3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14" name="Google Shape;3514;p55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515" name="Google Shape;3515;p55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6" name="Google Shape;3516;p55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7" name="Google Shape;3517;p55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18" name="Google Shape;3518;p5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519" name="Google Shape;3519;p55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20" name="Google Shape;3520;p55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Photo Slide">
  <p:cSld name="9_Photo Slide">
    <p:spTree>
      <p:nvGrpSpPr>
        <p:cNvPr id="1" name="Shape 3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2" name="Google Shape;3522;p5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523" name="Google Shape;3523;p5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524" name="Google Shape;3524;p5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525" name="Google Shape;3525;p5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6" name="Google Shape;3526;p5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527" name="Google Shape;3527;p5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528" name="Google Shape;3528;p5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Quotation">
  <p:cSld name="14_Quotation">
    <p:spTree>
      <p:nvGrpSpPr>
        <p:cNvPr id="1" name="Shape 3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30" name="Google Shape;3530;p5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31" name="Google Shape;3531;p5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32" name="Google Shape;3532;p5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33" name="Google Shape;3533;p5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34" name="Google Shape;3534;p5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35" name="Google Shape;3535;p5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536" name="Google Shape;3536;p5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37" name="Google Shape;3537;p5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38" name="Google Shape;3538;p5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39" name="Google Shape;3539;p5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40" name="Google Shape;3540;p5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541" name="Google Shape;3541;p5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spTree>
      <p:nvGrpSpPr>
        <p:cNvPr id="1" name="Shape 3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43" name="Google Shape;3543;p5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44" name="Google Shape;3544;p5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45" name="Google Shape;3545;p5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46" name="Google Shape;3546;p5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47" name="Google Shape;3547;p5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48" name="Google Shape;3548;p5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49" name="Google Shape;3549;p5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50" name="Google Shape;3550;p5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51" name="Google Shape;3551;p5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52" name="Google Shape;3552;p5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Content">
  <p:cSld name="9_Two Content">
    <p:spTree>
      <p:nvGrpSpPr>
        <p:cNvPr id="1" name="Shape 35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4" name="Google Shape;3554;p5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55" name="Google Shape;3555;p5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556" name="Google Shape;3556;p5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57" name="Google Shape;3557;p5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58" name="Google Shape;3558;p5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59" name="Google Shape;3559;p5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60" name="Google Shape;3560;p5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61" name="Google Shape;3561;p55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62" name="Google Shape;3562;p55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63" name="Google Shape;3563;p5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64" name="Google Shape;3564;p5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mparison">
  <p:cSld name="8_Comparison">
    <p:spTree>
      <p:nvGrpSpPr>
        <p:cNvPr id="1" name="Shape 3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66" name="Google Shape;3566;p5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67" name="Google Shape;3567;p5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68" name="Google Shape;3568;p5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69" name="Google Shape;3569;p5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70" name="Google Shape;3570;p5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71" name="Google Shape;3571;p5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72" name="Google Shape;3572;p55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573" name="Google Shape;3573;p55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74" name="Google Shape;3574;p5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575" name="Google Shape;3575;p5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76" name="Google Shape;3576;p5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77" name="Google Shape;3577;p5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78" name="Google Shape;3578;p5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Only">
  <p:cSld name="9_Title Only">
    <p:spTree>
      <p:nvGrpSpPr>
        <p:cNvPr id="1" name="Shape 3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80" name="Google Shape;3580;p5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81" name="Google Shape;3581;p5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82" name="Google Shape;3582;p5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83" name="Google Shape;3583;p5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84" name="Google Shape;3584;p5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85" name="Google Shape;3585;p5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86" name="Google Shape;3586;p5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87" name="Google Shape;3587;p5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88" name="Google Shape;3588;p5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End">
  <p:cSld name="8_End">
    <p:spTree>
      <p:nvGrpSpPr>
        <p:cNvPr id="1" name="Shape 3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90" name="Google Shape;3590;p56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591" name="Google Shape;3591;p56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2" name="Google Shape;3592;p56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593" name="Google Shape;3593;p56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94" name="Google Shape;3594;p56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95" name="Google Shape;3595;p56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596" name="Google Shape;3596;p5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597" name="Google Shape;3597;p5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Blank">
  <p:cSld name="8_Blank">
    <p:spTree>
      <p:nvGrpSpPr>
        <p:cNvPr id="1" name="Shape 3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9" name="Google Shape;3599;p5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00" name="Google Shape;3600;p5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01" name="Google Shape;3601;p5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02" name="Google Shape;3602;p5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03" name="Google Shape;3603;p5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04" name="Google Shape;3604;p5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05" name="Google Shape;3605;p5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06" name="Google Shape;3606;p5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Quotation">
  <p:cSld name="15_Quotation">
    <p:spTree>
      <p:nvGrpSpPr>
        <p:cNvPr id="1" name="Shape 3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8" name="Google Shape;3608;p5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09" name="Google Shape;3609;p5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10" name="Google Shape;3610;p5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11" name="Google Shape;3611;p5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12" name="Google Shape;3612;p5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13" name="Google Shape;3613;p5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14" name="Google Shape;3614;p5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15" name="Google Shape;3615;p5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16" name="Google Shape;3616;p5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17" name="Google Shape;3617;p5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18" name="Google Shape;3618;p5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619" name="Google Shape;3619;p5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Google Shape;385;p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" name="Google Shape;386;p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87" name="Google Shape;387;p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8" name="Google Shape;388;p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" name="Google Shape;389;p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0" name="Google Shape;390;p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2" name="Google Shape;392;p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" name="Google Shape;393;p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4" name="Google Shape;394;p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5" name="Google Shape;395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ver">
  <p:cSld name="9_Cover">
    <p:spTree>
      <p:nvGrpSpPr>
        <p:cNvPr id="1" name="Shape 3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1" name="Google Shape;3621;p56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22" name="Google Shape;3622;p56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23" name="Google Shape;3623;p56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624" name="Google Shape;3624;p56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625" name="Google Shape;3625;p56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626" name="Google Shape;3626;p56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7" name="Google Shape;3627;p56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28" name="Google Shape;3628;p5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Divider">
  <p:cSld name="11_Divider">
    <p:bg>
      <p:bgPr>
        <a:solidFill>
          <a:schemeClr val="lt2"/>
        </a:solidFill>
        <a:effectLst/>
      </p:bgPr>
    </p:bg>
    <p:spTree>
      <p:nvGrpSpPr>
        <p:cNvPr id="1" name="Shape 3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30" name="Google Shape;3630;p56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631" name="Google Shape;3631;p56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2" name="Google Shape;3632;p56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3" name="Google Shape;3633;p56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34" name="Google Shape;3634;p5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635" name="Google Shape;3635;p56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36" name="Google Shape;3636;p56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Photo Slide">
  <p:cSld name="10_Photo Slide">
    <p:spTree>
      <p:nvGrpSpPr>
        <p:cNvPr id="1" name="Shape 3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38" name="Google Shape;3638;p56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639" name="Google Shape;3639;p56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640" name="Google Shape;3640;p56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641" name="Google Shape;3641;p56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2" name="Google Shape;3642;p56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43" name="Google Shape;3643;p56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644" name="Google Shape;3644;p5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Quotation">
  <p:cSld name="16_Quotation">
    <p:spTree>
      <p:nvGrpSpPr>
        <p:cNvPr id="1" name="Shape 3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6" name="Google Shape;3646;p5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47" name="Google Shape;3647;p5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48" name="Google Shape;3648;p5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49" name="Google Shape;3649;p5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50" name="Google Shape;3650;p5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51" name="Google Shape;3651;p5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52" name="Google Shape;3652;p5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53" name="Google Shape;3653;p5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54" name="Google Shape;3654;p5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55" name="Google Shape;3655;p5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56" name="Google Shape;3656;p5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657" name="Google Shape;3657;p5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Quotation">
  <p:cSld name="17_Quotation">
    <p:spTree>
      <p:nvGrpSpPr>
        <p:cNvPr id="1" name="Shape 3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9" name="Google Shape;3659;p56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60" name="Google Shape;3660;p56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61" name="Google Shape;3661;p56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62" name="Google Shape;3662;p5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63" name="Google Shape;3663;p5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64" name="Google Shape;3664;p5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65" name="Google Shape;3665;p5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66" name="Google Shape;3666;p5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67" name="Google Shape;3667;p5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68" name="Google Shape;3668;p5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69" name="Google Shape;3669;p5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670" name="Google Shape;3670;p56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Content">
  <p:cSld name="12_Title and Content">
    <p:spTree>
      <p:nvGrpSpPr>
        <p:cNvPr id="1" name="Shape 3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72" name="Google Shape;3672;p5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73" name="Google Shape;3673;p5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74" name="Google Shape;3674;p5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75" name="Google Shape;3675;p5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76" name="Google Shape;3676;p5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77" name="Google Shape;3677;p5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78" name="Google Shape;3678;p56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79" name="Google Shape;3679;p5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80" name="Google Shape;3680;p5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81" name="Google Shape;3681;p5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Content">
  <p:cSld name="10_Two Content">
    <p:spTree>
      <p:nvGrpSpPr>
        <p:cNvPr id="1" name="Shape 3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3" name="Google Shape;3683;p5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84" name="Google Shape;3684;p56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685" name="Google Shape;3685;p5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86" name="Google Shape;3686;p5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87" name="Google Shape;3687;p5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88" name="Google Shape;3688;p5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89" name="Google Shape;3689;p5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90" name="Google Shape;3690;p56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91" name="Google Shape;3691;p56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92" name="Google Shape;3692;p5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93" name="Google Shape;3693;p5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mparison">
  <p:cSld name="9_Comparison">
    <p:spTree>
      <p:nvGrpSpPr>
        <p:cNvPr id="1" name="Shape 3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95" name="Google Shape;3695;p5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96" name="Google Shape;3696;p5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97" name="Google Shape;3697;p5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98" name="Google Shape;3698;p5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99" name="Google Shape;3699;p5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700" name="Google Shape;3700;p5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1" name="Google Shape;3701;p57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702" name="Google Shape;3702;p57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03" name="Google Shape;3703;p57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704" name="Google Shape;3704;p57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05" name="Google Shape;3705;p5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06" name="Google Shape;3706;p5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07" name="Google Shape;3707;p5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Only">
  <p:cSld name="10_Title Only">
    <p:spTree>
      <p:nvGrpSpPr>
        <p:cNvPr id="1" name="Shape 3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09" name="Google Shape;3709;p5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10" name="Google Shape;3710;p5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11" name="Google Shape;3711;p5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12" name="Google Shape;3712;p5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13" name="Google Shape;3713;p5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714" name="Google Shape;3714;p5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15" name="Google Shape;3715;p5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16" name="Google Shape;3716;p5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17" name="Google Shape;3717;p5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End">
  <p:cSld name="9_End">
    <p:spTree>
      <p:nvGrpSpPr>
        <p:cNvPr id="1" name="Shape 3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19" name="Google Shape;3719;p57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720" name="Google Shape;3720;p57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1" name="Google Shape;3721;p57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722" name="Google Shape;3722;p57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23" name="Google Shape;3723;p57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24" name="Google Shape;3724;p57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725" name="Google Shape;3725;p5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726" name="Google Shape;3726;p5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7" name="Google Shape;397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8" name="Google Shape;398;p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9" name="Google Shape;399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0" name="Google Shape;400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1" name="Google Shape;401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2" name="Google Shape;402;p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3" name="Google Shape;403;p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4" name="Google Shape;404;p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5" name="Google Shape;405;p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6" name="Google Shape;406;p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7" name="Google Shape;407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8" name="Google Shape;408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9" name="Google Shape;409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Blank">
  <p:cSld name="9_Blank">
    <p:spTree>
      <p:nvGrpSpPr>
        <p:cNvPr id="1" name="Shape 3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8" name="Google Shape;3728;p5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29" name="Google Shape;3729;p5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30" name="Google Shape;3730;p5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31" name="Google Shape;3731;p5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32" name="Google Shape;3732;p5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33" name="Google Shape;3733;p5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34" name="Google Shape;3734;p5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35" name="Google Shape;3735;p5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3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7" name="Google Shape;3737;p57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38" name="Google Shape;3738;p574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739" name="Google Shape;3739;p5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3740" name="Google Shape;3740;p574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741" name="Google Shape;3741;p5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3742" name="Google Shape;3742;p57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43" name="Google Shape;3743;p57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4" name="Google Shape;3744;p57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45" name="Google Shape;3745;p5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6" name="Google Shape;3746;p5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47" name="Google Shape;3747;p5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Quotation">
  <p:cSld name="18_Quotation">
    <p:spTree>
      <p:nvGrpSpPr>
        <p:cNvPr id="1" name="Shape 37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9" name="Google Shape;3749;p5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50" name="Google Shape;3750;p5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51" name="Google Shape;3751;p5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52" name="Google Shape;3752;p5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53" name="Google Shape;3753;p5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54" name="Google Shape;3754;p5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55" name="Google Shape;3755;p5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56" name="Google Shape;3756;p5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57" name="Google Shape;3757;p5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58" name="Google Shape;3758;p5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59" name="Google Shape;3759;p5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60" name="Google Shape;3760;p5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Quotation">
  <p:cSld name="19_Quotation">
    <p:spTree>
      <p:nvGrpSpPr>
        <p:cNvPr id="1" name="Shape 3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2" name="Google Shape;3762;p5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63" name="Google Shape;3763;p5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64" name="Google Shape;3764;p5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65" name="Google Shape;3765;p5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66" name="Google Shape;3766;p5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67" name="Google Shape;3767;p5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68" name="Google Shape;3768;p5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69" name="Google Shape;3769;p5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70" name="Google Shape;3770;p5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71" name="Google Shape;3771;p5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72" name="Google Shape;3772;p5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73" name="Google Shape;3773;p57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 type="title">
  <p:cSld name="TITLE">
    <p:spTree>
      <p:nvGrpSpPr>
        <p:cNvPr id="1" name="Shape 3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5" name="Google Shape;3775;p577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6" name="Google Shape;3776;p577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777" name="Google Shape;3777;p57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78" name="Google Shape;3778;p5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9" name="Google Shape;3779;p5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3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1" name="Google Shape;3781;p57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82" name="Google Shape;3782;p57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83" name="Google Shape;3783;p57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84" name="Google Shape;3784;p5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85" name="Google Shape;3785;p5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86" name="Google Shape;3786;p57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87" name="Google Shape;3787;p57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88" name="Google Shape;3788;p57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789" name="Google Shape;3789;p5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_Yale Blue">
  <p:cSld name="4_Title Slide_Yale Blue">
    <p:spTree>
      <p:nvGrpSpPr>
        <p:cNvPr id="1" name="Shape 3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1" name="Google Shape;3791;p57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92" name="Google Shape;3792;p57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93" name="Google Shape;3793;p57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94" name="Google Shape;3794;p5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95" name="Google Shape;3795;p5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96" name="Google Shape;3796;p57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97" name="Google Shape;3797;p57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98" name="Google Shape;3798;p57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799" name="Google Shape;3799;p5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3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1" name="Google Shape;3801;p58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02" name="Google Shape;3802;p58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03" name="Google Shape;3803;p58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04" name="Google Shape;3804;p58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05" name="Google Shape;3805;p5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spTree>
      <p:nvGrpSpPr>
        <p:cNvPr id="1" name="Shape 3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7" name="Google Shape;3807;p58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808" name="Google Shape;3808;p5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809" name="Google Shape;3809;p58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0" name="Google Shape;3810;p58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11" name="Google Shape;3811;p58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3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3" name="Google Shape;3813;p58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4" name="Google Shape;3814;p58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5" name="Google Shape;3815;p58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16" name="Google Shape;3816;p58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17" name="Google Shape;3817;p58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18" name="Google Shape;3818;p5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1" name="Google Shape;411;p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2" name="Google Shape;412;p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3" name="Google Shape;413;p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4" name="Google Shape;414;p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5" name="Google Shape;415;p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6" name="Google Shape;416;p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" name="Google Shape;417;p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8" name="Google Shape;418;p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9" name="Google Shape;419;p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_Yale Blue">
  <p:cSld name="5_Title Slide_Yale Blue">
    <p:spTree>
      <p:nvGrpSpPr>
        <p:cNvPr id="1" name="Shape 3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0" name="Google Shape;3820;p58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21" name="Google Shape;3821;p58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22" name="Google Shape;3822;p58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23" name="Google Shape;3823;p5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24" name="Google Shape;3824;p5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25" name="Google Shape;3825;p58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6" name="Google Shape;3826;p58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7" name="Google Shape;3827;p58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28" name="Google Shape;3828;p5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Bullets Layout">
  <p:cSld name="1_Title and Bullets Layout">
    <p:spTree>
      <p:nvGrpSpPr>
        <p:cNvPr id="1" name="Shape 38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0" name="Google Shape;3830;p58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1" name="Google Shape;3831;p58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2" name="Google Shape;3832;p58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3" name="Google Shape;3833;p58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34" name="Google Shape;3834;p5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>
  <p:cSld name="14_Title and Content">
    <p:spTree>
      <p:nvGrpSpPr>
        <p:cNvPr id="1" name="Shape 3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6" name="Google Shape;3836;p58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837" name="Google Shape;3837;p5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838" name="Google Shape;3838;p58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9" name="Google Shape;3839;p58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40" name="Google Shape;3840;p58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Section | Picture and Copy Layout">
  <p:cSld name="1_Two Section | Picture and Copy Layout">
    <p:spTree>
      <p:nvGrpSpPr>
        <p:cNvPr id="1" name="Shape 3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2" name="Google Shape;3842;p58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43" name="Google Shape;3843;p58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44" name="Google Shape;3844;p58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5" name="Google Shape;3845;p58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6" name="Google Shape;3846;p58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47" name="Google Shape;3847;p5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_Yale Blue">
  <p:cSld name="6_Title Slide_Yale Blue">
    <p:spTree>
      <p:nvGrpSpPr>
        <p:cNvPr id="1" name="Shape 38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9" name="Google Shape;3849;p58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50" name="Google Shape;3850;p58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51" name="Google Shape;3851;p58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52" name="Google Shape;3852;p5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53" name="Google Shape;3853;p5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54" name="Google Shape;3854;p58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55" name="Google Shape;3855;p58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56" name="Google Shape;3856;p58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57" name="Google Shape;3857;p5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_Yale Blue">
  <p:cSld name="7_Title Slide_Yale Blue">
    <p:spTree>
      <p:nvGrpSpPr>
        <p:cNvPr id="1" name="Shape 3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9" name="Google Shape;3859;p58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60" name="Google Shape;3860;p58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1" name="Google Shape;3861;p58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62" name="Google Shape;3862;p5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3" name="Google Shape;3863;p5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64" name="Google Shape;3864;p58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65" name="Google Shape;3865;p58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66" name="Google Shape;3866;p58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67" name="Google Shape;3867;p5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Bullets Layout">
  <p:cSld name="2_Title and Bullets Layout">
    <p:spTree>
      <p:nvGrpSpPr>
        <p:cNvPr id="1" name="Shape 3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9" name="Google Shape;3869;p58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70" name="Google Shape;3870;p58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71" name="Google Shape;3871;p58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72" name="Google Shape;3872;p58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73" name="Google Shape;3873;p5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Content">
  <p:cSld name="15_Title and Content">
    <p:spTree>
      <p:nvGrpSpPr>
        <p:cNvPr id="1" name="Shape 38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5" name="Google Shape;3875;p59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876" name="Google Shape;3876;p5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877" name="Google Shape;3877;p59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78" name="Google Shape;3878;p59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79" name="Google Shape;3879;p59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Section | Picture and Copy Layout">
  <p:cSld name="2_Two Section | Picture and Copy Layout">
    <p:spTree>
      <p:nvGrpSpPr>
        <p:cNvPr id="1" name="Shape 38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1" name="Google Shape;3881;p59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82" name="Google Shape;3882;p59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83" name="Google Shape;3883;p59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4" name="Google Shape;3884;p59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5" name="Google Shape;3885;p59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86" name="Google Shape;3886;p5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_Yale Blue">
  <p:cSld name="8_Title Slide_Yale Blue">
    <p:spTree>
      <p:nvGrpSpPr>
        <p:cNvPr id="1" name="Shape 38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8" name="Google Shape;3888;p59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9" name="Google Shape;3889;p59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0" name="Google Shape;3890;p59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91" name="Google Shape;3891;p5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2" name="Google Shape;3892;p5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93" name="Google Shape;3893;p59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4" name="Google Shape;3894;p59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5" name="Google Shape;3895;p59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96" name="Google Shape;3896;p5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1" name="Google Shape;421;p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22" name="Google Shape;422;p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24" name="Google Shape;424;p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5" name="Google Shape;425;p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6" name="Google Shape;426;p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27" name="Google Shape;427;p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28" name="Google Shape;428;p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Bullets Layout">
  <p:cSld name="3_Title and Bullets Layout">
    <p:spTree>
      <p:nvGrpSpPr>
        <p:cNvPr id="1" name="Shape 38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8" name="Google Shape;3898;p59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9" name="Google Shape;3899;p59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00" name="Google Shape;3900;p59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01" name="Google Shape;3901;p59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902" name="Google Shape;3902;p5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and Content">
  <p:cSld name="16_Title and Content">
    <p:spTree>
      <p:nvGrpSpPr>
        <p:cNvPr id="1" name="Shape 39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4" name="Google Shape;3904;p59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905" name="Google Shape;3905;p5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906" name="Google Shape;3906;p59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07" name="Google Shape;3907;p59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08" name="Google Shape;3908;p59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Section | Picture and Copy Layout">
  <p:cSld name="3_Two Section | Picture and Copy Layout">
    <p:spTree>
      <p:nvGrpSpPr>
        <p:cNvPr id="1" name="Shape 3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0" name="Google Shape;3910;p59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1" name="Google Shape;3911;p59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2" name="Google Shape;3912;p59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13" name="Google Shape;3913;p59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14" name="Google Shape;3914;p59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915" name="Google Shape;3915;p5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Bullets Layout">
  <p:cSld name="4_Title and Bullets Layout">
    <p:spTree>
      <p:nvGrpSpPr>
        <p:cNvPr id="1" name="Shape 3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7" name="Google Shape;3917;p59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18" name="Google Shape;3918;p59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9" name="Google Shape;3919;p59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20" name="Google Shape;3920;p59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921" name="Google Shape;3921;p5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and Content">
  <p:cSld name="17_Title and Content">
    <p:spTree>
      <p:nvGrpSpPr>
        <p:cNvPr id="1" name="Shape 3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3" name="Google Shape;3923;p59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924" name="Google Shape;3924;p5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925" name="Google Shape;3925;p59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26" name="Google Shape;3926;p59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27" name="Google Shape;3927;p59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Section | Picture and Copy Layout">
  <p:cSld name="4_Two Section | Picture and Copy Layout">
    <p:spTree>
      <p:nvGrpSpPr>
        <p:cNvPr id="1" name="Shape 3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9" name="Google Shape;3929;p59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30" name="Google Shape;3930;p59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31" name="Google Shape;3931;p59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2" name="Google Shape;3932;p59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3" name="Google Shape;3933;p59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934" name="Google Shape;3934;p5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ver">
  <p:cSld name="10_Cover">
    <p:spTree>
      <p:nvGrpSpPr>
        <p:cNvPr id="1" name="Shape 3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36" name="Google Shape;3936;p59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37" name="Google Shape;3937;p59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38" name="Google Shape;3938;p59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939" name="Google Shape;3939;p5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940" name="Google Shape;3940;p59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941" name="Google Shape;3941;p5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2" name="Google Shape;3942;p59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943" name="Google Shape;3943;p5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Divider">
  <p:cSld name="12_Divider">
    <p:bg>
      <p:bgPr>
        <a:solidFill>
          <a:schemeClr val="lt2"/>
        </a:solidFill>
        <a:effectLst/>
      </p:bgPr>
    </p:bg>
    <p:spTree>
      <p:nvGrpSpPr>
        <p:cNvPr id="1" name="Shape 3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45" name="Google Shape;3945;p60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946" name="Google Shape;3946;p60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7" name="Google Shape;3947;p6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8" name="Google Shape;3948;p60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949" name="Google Shape;3949;p6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950" name="Google Shape;3950;p60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51" name="Google Shape;3951;p60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Photo Slide">
  <p:cSld name="11_Photo Slide">
    <p:spTree>
      <p:nvGrpSpPr>
        <p:cNvPr id="1" name="Shape 3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3" name="Google Shape;3953;p60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954" name="Google Shape;3954;p60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955" name="Google Shape;3955;p60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956" name="Google Shape;3956;p60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7" name="Google Shape;3957;p60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958" name="Google Shape;3958;p60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959" name="Google Shape;3959;p6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Quotation">
  <p:cSld name="20_Quotation">
    <p:spTree>
      <p:nvGrpSpPr>
        <p:cNvPr id="1" name="Shape 39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1" name="Google Shape;3961;p6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62" name="Google Shape;3962;p6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63" name="Google Shape;3963;p6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64" name="Google Shape;3964;p6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65" name="Google Shape;3965;p6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66" name="Google Shape;3966;p6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967" name="Google Shape;3967;p6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68" name="Google Shape;3968;p6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69" name="Google Shape;3969;p6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70" name="Google Shape;3970;p6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71" name="Google Shape;3971;p6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72" name="Google Shape;3972;p6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oogle Shape;52;p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" name="Google Shape;53;p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" name="Google Shape;54;p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" name="Google Shape;55;p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" name="Google Shape;56;p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" name="Google Shape;57;p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5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" name="Google Shape;60;p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" name="Google Shape;61;p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Google Shape;430;p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1" name="Google Shape;431;p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2" name="Google Shape;432;p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33" name="Google Shape;433;p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4" name="Google Shape;434;p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5" name="Google Shape;435;p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6" name="Google Shape;436;p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and Content">
  <p:cSld name="18_Title and Content">
    <p:spTree>
      <p:nvGrpSpPr>
        <p:cNvPr id="1" name="Shape 39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74" name="Google Shape;3974;p6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75" name="Google Shape;3975;p6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76" name="Google Shape;3976;p6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77" name="Google Shape;3977;p6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78" name="Google Shape;3978;p6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79" name="Google Shape;3979;p6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80" name="Google Shape;3980;p60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81" name="Google Shape;3981;p6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82" name="Google Shape;3982;p6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83" name="Google Shape;3983;p6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Content">
  <p:cSld name="11_Two Content">
    <p:spTree>
      <p:nvGrpSpPr>
        <p:cNvPr id="1" name="Shape 3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5" name="Google Shape;3985;p6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86" name="Google Shape;3986;p6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987" name="Google Shape;3987;p6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88" name="Google Shape;3988;p6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89" name="Google Shape;3989;p6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90" name="Google Shape;3990;p6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91" name="Google Shape;3991;p6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92" name="Google Shape;3992;p6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93" name="Google Shape;3993;p6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94" name="Google Shape;3994;p6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95" name="Google Shape;3995;p6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mparison">
  <p:cSld name="10_Comparison">
    <p:spTree>
      <p:nvGrpSpPr>
        <p:cNvPr id="1" name="Shape 3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97" name="Google Shape;3997;p6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98" name="Google Shape;3998;p6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99" name="Google Shape;3999;p6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00" name="Google Shape;4000;p6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01" name="Google Shape;4001;p6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02" name="Google Shape;4002;p6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03" name="Google Shape;4003;p6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04" name="Google Shape;4004;p6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05" name="Google Shape;4005;p6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06" name="Google Shape;4006;p6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07" name="Google Shape;4007;p6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08" name="Google Shape;4008;p6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09" name="Google Shape;4009;p6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Only">
  <p:cSld name="11_Title Only">
    <p:spTree>
      <p:nvGrpSpPr>
        <p:cNvPr id="1" name="Shape 4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11" name="Google Shape;4011;p6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12" name="Google Shape;4012;p6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13" name="Google Shape;4013;p6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14" name="Google Shape;4014;p6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15" name="Google Shape;4015;p6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16" name="Google Shape;4016;p6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17" name="Google Shape;4017;p6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18" name="Google Shape;4018;p6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19" name="Google Shape;4019;p6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End">
  <p:cSld name="10_End">
    <p:spTree>
      <p:nvGrpSpPr>
        <p:cNvPr id="1" name="Shape 40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21" name="Google Shape;4021;p6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022" name="Google Shape;4022;p6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3" name="Google Shape;4023;p6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024" name="Google Shape;4024;p6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25" name="Google Shape;4025;p6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26" name="Google Shape;4026;p6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027" name="Google Shape;4027;p6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028" name="Google Shape;4028;p6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Blank">
  <p:cSld name="10_Blank">
    <p:spTree>
      <p:nvGrpSpPr>
        <p:cNvPr id="1" name="Shape 4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0" name="Google Shape;4030;p6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31" name="Google Shape;4031;p6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32" name="Google Shape;4032;p6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033" name="Google Shape;4033;p6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34" name="Google Shape;4034;p6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35" name="Google Shape;4035;p6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36" name="Google Shape;4036;p6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37" name="Google Shape;4037;p6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ver">
  <p:cSld name="11_Cover">
    <p:spTree>
      <p:nvGrpSpPr>
        <p:cNvPr id="1" name="Shape 40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9" name="Google Shape;4039;p60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40" name="Google Shape;4040;p60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41" name="Google Shape;4041;p60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042" name="Google Shape;4042;p6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043" name="Google Shape;4043;p60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044" name="Google Shape;4044;p6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5" name="Google Shape;4045;p6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46" name="Google Shape;4046;p6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Divider">
  <p:cSld name="13_Divider">
    <p:bg>
      <p:bgPr>
        <a:solidFill>
          <a:schemeClr val="lt2"/>
        </a:solidFill>
        <a:effectLst/>
      </p:bgPr>
    </p:bg>
    <p:spTree>
      <p:nvGrpSpPr>
        <p:cNvPr id="1" name="Shape 40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48" name="Google Shape;4048;p61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049" name="Google Shape;4049;p6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50" name="Google Shape;4050;p6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51" name="Google Shape;4051;p6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52" name="Google Shape;4052;p6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053" name="Google Shape;4053;p61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54" name="Google Shape;4054;p61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Photo Slide">
  <p:cSld name="12_Photo Slide">
    <p:spTree>
      <p:nvGrpSpPr>
        <p:cNvPr id="1" name="Shape 4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6" name="Google Shape;4056;p6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057" name="Google Shape;4057;p6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058" name="Google Shape;4058;p6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059" name="Google Shape;4059;p6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0" name="Google Shape;4060;p6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061" name="Google Shape;4061;p6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062" name="Google Shape;4062;p6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Quotation">
  <p:cSld name="21_Quotation">
    <p:spTree>
      <p:nvGrpSpPr>
        <p:cNvPr id="1" name="Shape 40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4" name="Google Shape;4064;p6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65" name="Google Shape;4065;p6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66" name="Google Shape;4066;p6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67" name="Google Shape;4067;p6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68" name="Google Shape;4068;p6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69" name="Google Shape;4069;p6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070" name="Google Shape;4070;p6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71" name="Google Shape;4071;p6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72" name="Google Shape;4072;p6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73" name="Google Shape;4073;p6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74" name="Google Shape;4074;p6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075" name="Google Shape;4075;p6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" name="Google Shape;439;p9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0" name="Google Shape;440;p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1" name="Google Shape;441;p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42" name="Google Shape;442;p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43" name="Google Shape;443;p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44" name="Google Shape;444;p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5" name="Google Shape;445;p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6" name="Google Shape;446;p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and Content">
  <p:cSld name="19_Title and Content">
    <p:spTree>
      <p:nvGrpSpPr>
        <p:cNvPr id="1" name="Shape 4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77" name="Google Shape;4077;p6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78" name="Google Shape;4078;p6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79" name="Google Shape;4079;p6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80" name="Google Shape;4080;p6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81" name="Google Shape;4081;p6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82" name="Google Shape;4082;p6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83" name="Google Shape;4083;p6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84" name="Google Shape;4084;p6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85" name="Google Shape;4085;p6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86" name="Google Shape;4086;p6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Content">
  <p:cSld name="12_Two Content">
    <p:spTree>
      <p:nvGrpSpPr>
        <p:cNvPr id="1" name="Shape 40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8" name="Google Shape;4088;p6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89" name="Google Shape;4089;p61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090" name="Google Shape;4090;p6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91" name="Google Shape;4091;p6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92" name="Google Shape;4092;p6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93" name="Google Shape;4093;p6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94" name="Google Shape;4094;p6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95" name="Google Shape;4095;p61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96" name="Google Shape;4096;p61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97" name="Google Shape;4097;p6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98" name="Google Shape;4098;p6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mparison">
  <p:cSld name="11_Comparison">
    <p:spTree>
      <p:nvGrpSpPr>
        <p:cNvPr id="1" name="Shape 40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00" name="Google Shape;4100;p6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01" name="Google Shape;4101;p6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02" name="Google Shape;4102;p6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03" name="Google Shape;4103;p6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04" name="Google Shape;4104;p6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05" name="Google Shape;4105;p6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06" name="Google Shape;4106;p61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07" name="Google Shape;4107;p61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08" name="Google Shape;4108;p6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09" name="Google Shape;4109;p6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10" name="Google Shape;4110;p6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11" name="Google Shape;4111;p6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12" name="Google Shape;4112;p6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Only">
  <p:cSld name="12_Title Only">
    <p:spTree>
      <p:nvGrpSpPr>
        <p:cNvPr id="1" name="Shape 4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14" name="Google Shape;4114;p6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15" name="Google Shape;4115;p6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16" name="Google Shape;4116;p6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17" name="Google Shape;4117;p6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18" name="Google Shape;4118;p6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19" name="Google Shape;4119;p6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20" name="Google Shape;4120;p6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21" name="Google Shape;4121;p6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22" name="Google Shape;4122;p6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End">
  <p:cSld name="11_End">
    <p:spTree>
      <p:nvGrpSpPr>
        <p:cNvPr id="1" name="Shape 4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24" name="Google Shape;4124;p61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25" name="Google Shape;4125;p61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6" name="Google Shape;4126;p61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127" name="Google Shape;4127;p61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28" name="Google Shape;4128;p61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29" name="Google Shape;4129;p61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130" name="Google Shape;4130;p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131" name="Google Shape;4131;p6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Blank">
  <p:cSld name="11_Blank">
    <p:spTree>
      <p:nvGrpSpPr>
        <p:cNvPr id="1" name="Shape 4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3" name="Google Shape;4133;p6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34" name="Google Shape;4134;p6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35" name="Google Shape;4135;p6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136" name="Google Shape;4136;p6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37" name="Google Shape;4137;p6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38" name="Google Shape;4138;p6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39" name="Google Shape;4139;p6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40" name="Google Shape;4140;p6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">
  <p:cSld name="2_Title Slide">
    <p:spTree>
      <p:nvGrpSpPr>
        <p:cNvPr id="1" name="Shape 4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2" name="Google Shape;4142;p619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143" name="Google Shape;4143;p6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144" name="Google Shape;4144;p619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4145" name="Google Shape;4145;p619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146" name="Google Shape;4146;p619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4147" name="Google Shape;4147;p619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48" name="Google Shape;4148;p619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49" name="Google Shape;4149;p619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50" name="Google Shape;4150;p619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4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2" name="Google Shape;4152;p620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53" name="Google Shape;4153;p62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54" name="Google Shape;4154;p62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55" name="Google Shape;4155;p62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56" name="Google Shape;4156;p6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4157" name="Google Shape;4157;p62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4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9" name="Google Shape;4159;p621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60" name="Google Shape;4160;p621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4161" name="Google Shape;4161;p62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62" name="Google Shape;4162;p6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63" name="Google Shape;4163;p6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4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5" name="Google Shape;4165;p622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66" name="Google Shape;4166;p622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4167" name="Google Shape;4167;p622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4168" name="Google Shape;4168;p62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69" name="Google Shape;4169;p6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0" name="Google Shape;4170;p6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8" name="Google Shape;448;p9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9" name="Google Shape;449;p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0" name="Google Shape;450;p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1" name="Google Shape;451;p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2" name="Google Shape;452;p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53" name="Google Shape;453;p9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4" name="Google Shape;454;p9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4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2" name="Google Shape;4172;p62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73" name="Google Shape;4173;p62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174" name="Google Shape;4174;p62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75" name="Google Shape;4175;p62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176" name="Google Shape;4176;p62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7" name="Google Shape;4177;p62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178" name="Google Shape;4178;p62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79" name="Google Shape;4179;p62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4180" name="Google Shape;4180;p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87" name="Google Shape;4187;p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88" name="Google Shape;4188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89" name="Google Shape;4189;p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90" name="Google Shape;4190;p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91" name="Google Shape;4191;p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92" name="Google Shape;4192;p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93" name="Google Shape;4193;p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94" name="Google Shape;4194;p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95" name="Google Shape;4195;p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96" name="Google Shape;4196;p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4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" name="Google Shape;4198;p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99" name="Google Shape;4199;p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200" name="Google Shape;4200;p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01" name="Google Shape;4201;p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02" name="Google Shape;4202;p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03" name="Google Shape;4203;p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04" name="Google Shape;4204;p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05" name="Google Shape;4205;p5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06" name="Google Shape;4206;p5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07" name="Google Shape;4207;p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08" name="Google Shape;4208;p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4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10" name="Google Shape;4210;p6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11" name="Google Shape;4211;p6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12" name="Google Shape;4212;p6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13" name="Google Shape;4213;p6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14" name="Google Shape;4214;p6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15" name="Google Shape;4215;p6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16" name="Google Shape;4216;p6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17" name="Google Shape;4217;p6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18" name="Google Shape;4218;p6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19" name="Google Shape;4219;p6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4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21" name="Google Shape;4221;p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22" name="Google Shape;4222;p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23" name="Google Shape;4223;p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24" name="Google Shape;4224;p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25" name="Google Shape;4225;p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26" name="Google Shape;4226;p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27" name="Google Shape;4227;p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28" name="Google Shape;4228;p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29" name="Google Shape;4229;p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30" name="Google Shape;4230;p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4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32" name="Google Shape;4232;p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33" name="Google Shape;4233;p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34" name="Google Shape;4234;p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35" name="Google Shape;4235;p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36" name="Google Shape;4236;p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37" name="Google Shape;4237;p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38" name="Google Shape;4238;p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39" name="Google Shape;4239;p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40" name="Google Shape;4240;p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41" name="Google Shape;4241;p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OBJECT 2">
    <p:spTree>
      <p:nvGrpSpPr>
        <p:cNvPr id="1" name="Shape 4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43" name="Google Shape;4243;p6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44" name="Google Shape;4244;p6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45" name="Google Shape;4245;p6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46" name="Google Shape;4246;p6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47" name="Google Shape;4247;p6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48" name="Google Shape;4248;p6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49" name="Google Shape;4249;p6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50" name="Google Shape;4250;p6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51" name="Google Shape;4251;p6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52" name="Google Shape;4252;p6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OBJECT 3">
    <p:spTree>
      <p:nvGrpSpPr>
        <p:cNvPr id="1" name="Shape 4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4" name="Google Shape;4254;p6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55" name="Google Shape;4255;p6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56" name="Google Shape;4256;p6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57" name="Google Shape;4257;p6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58" name="Google Shape;4258;p6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59" name="Google Shape;4259;p6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60" name="Google Shape;4260;p6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61" name="Google Shape;4261;p6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62" name="Google Shape;4262;p6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63" name="Google Shape;4263;p6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4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5" name="Google Shape;4265;p62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66" name="Google Shape;4266;p62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67" name="Google Shape;4267;p62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268" name="Google Shape;4268;p62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269" name="Google Shape;4269;p62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270" name="Google Shape;4270;p62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1" name="Google Shape;4271;p62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272" name="Google Shape;4272;p6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4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74" name="Google Shape;4274;p6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75" name="Google Shape;4275;p6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76" name="Google Shape;4276;p6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77" name="Google Shape;4277;p6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78" name="Google Shape;4278;p6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79" name="Google Shape;4279;p6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80" name="Google Shape;4280;p62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81" name="Google Shape;4281;p6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82" name="Google Shape;4282;p6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83" name="Google Shape;4283;p6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9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9" name="Google Shape;459;p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0" name="Google Shape;460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1" name="Google Shape;461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62" name="Google Shape;462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3" name="Google Shape;463;p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4" name="Google Shape;464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5" name="Google Shape;465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7" name="Google Shape;467;p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 2">
    <p:spTree>
      <p:nvGrpSpPr>
        <p:cNvPr id="1" name="Shape 4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85" name="Google Shape;4285;p6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86" name="Google Shape;4286;p6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87" name="Google Shape;4287;p6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88" name="Google Shape;4288;p6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89" name="Google Shape;4289;p6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90" name="Google Shape;4290;p6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91" name="Google Shape;4291;p62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92" name="Google Shape;4292;p6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93" name="Google Shape;4293;p6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94" name="Google Shape;4294;p6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4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6" name="Google Shape;4296;p6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97" name="Google Shape;4297;p6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298" name="Google Shape;4298;p6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99" name="Google Shape;4299;p6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00" name="Google Shape;4300;p6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01" name="Google Shape;4301;p6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02" name="Google Shape;4302;p6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03" name="Google Shape;4303;p63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04" name="Google Shape;4304;p63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05" name="Google Shape;4305;p6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06" name="Google Shape;4306;p6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4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08" name="Google Shape;4308;p6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09" name="Google Shape;4309;p6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10" name="Google Shape;4310;p6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11" name="Google Shape;4311;p6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12" name="Google Shape;4312;p6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13" name="Google Shape;4313;p6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14" name="Google Shape;4314;p63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15" name="Google Shape;4315;p6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16" name="Google Shape;4316;p6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17" name="Google Shape;4317;p6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9" name="Google Shape;4319;p6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20" name="Google Shape;4320;p6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21" name="Google Shape;4321;p6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322" name="Google Shape;4322;p6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23" name="Google Shape;4323;p6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24" name="Google Shape;4324;p6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25" name="Google Shape;4325;p6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6" name="Google Shape;4326;p6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4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28" name="Google Shape;4328;p63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329" name="Google Shape;4329;p63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30" name="Google Shape;4330;p63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31" name="Google Shape;4331;p63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332" name="Google Shape;4332;p6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333" name="Google Shape;4333;p63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34" name="Google Shape;4334;p63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4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6" name="Google Shape;4336;p63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337" name="Google Shape;4337;p63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338" name="Google Shape;4338;p63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339" name="Google Shape;4339;p63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40" name="Google Shape;4340;p63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341" name="Google Shape;4341;p63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342" name="Google Shape;4342;p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4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44" name="Google Shape;4344;p6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45" name="Google Shape;4345;p6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46" name="Google Shape;4346;p6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47" name="Google Shape;4347;p6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8" name="Google Shape;4348;p6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49" name="Google Shape;4349;p6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50" name="Google Shape;4350;p6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51" name="Google Shape;4351;p6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52" name="Google Shape;4352;p6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53" name="Google Shape;4353;p6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4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5" name="Google Shape;4355;p63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56" name="Google Shape;4356;p63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57" name="Google Shape;4357;p63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358" name="Google Shape;4358;p6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359" name="Google Shape;4359;p63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360" name="Google Shape;4360;p63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61" name="Google Shape;4361;p63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362" name="Google Shape;4362;p6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_OBJECTS 2">
    <p:spTree>
      <p:nvGrpSpPr>
        <p:cNvPr id="1" name="Shape 4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4" name="Google Shape;4364;p6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65" name="Google Shape;4365;p63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366" name="Google Shape;4366;p6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67" name="Google Shape;4367;p6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68" name="Google Shape;4368;p6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69" name="Google Shape;4369;p6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0" name="Google Shape;4370;p6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71" name="Google Shape;4371;p63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72" name="Google Shape;4372;p63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73" name="Google Shape;4373;p6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74" name="Google Shape;4374;p6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 3">
    <p:spTree>
      <p:nvGrpSpPr>
        <p:cNvPr id="1" name="Shape 4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76" name="Google Shape;4376;p6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77" name="Google Shape;4377;p6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78" name="Google Shape;4378;p6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79" name="Google Shape;4379;p6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0" name="Google Shape;4380;p6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81" name="Google Shape;4381;p6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2" name="Google Shape;4382;p6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83" name="Google Shape;4383;p6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84" name="Google Shape;4384;p6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85" name="Google Shape;4385;p6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Google Shape;469;p1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0" name="Google Shape;470;p1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1" name="Google Shape;471;p1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2" name="Google Shape;472;p1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4" name="Google Shape;474;p1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5" name="Google Shape;475;p1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4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7" name="Google Shape;4387;p6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8" name="Google Shape;4388;p63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389" name="Google Shape;4389;p6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90" name="Google Shape;4390;p6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91" name="Google Shape;4391;p6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92" name="Google Shape;4392;p6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3" name="Google Shape;4393;p6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94" name="Google Shape;4394;p63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95" name="Google Shape;4395;p63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96" name="Google Shape;4396;p6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97" name="Google Shape;4397;p6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 2">
    <p:spTree>
      <p:nvGrpSpPr>
        <p:cNvPr id="1" name="Shape 4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99" name="Google Shape;4399;p6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00" name="Google Shape;4400;p6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01" name="Google Shape;4401;p6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02" name="Google Shape;4402;p6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3" name="Google Shape;4403;p6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04" name="Google Shape;4404;p6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05" name="Google Shape;4405;p64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06" name="Google Shape;4406;p6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07" name="Google Shape;4407;p6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08" name="Google Shape;4408;p6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4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0" name="Google Shape;4410;p6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11" name="Google Shape;4411;p6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12" name="Google Shape;4412;p6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413" name="Google Shape;4413;p6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14" name="Google Shape;4414;p6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15" name="Google Shape;4415;p6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16" name="Google Shape;4416;p6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7" name="Google Shape;4417;p6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4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19" name="Google Shape;4419;p64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20" name="Google Shape;4420;p64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21" name="Google Shape;4421;p6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22" name="Google Shape;4422;p64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23" name="Google Shape;4423;p6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424" name="Google Shape;4424;p64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25" name="Google Shape;4425;p64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4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7" name="Google Shape;4427;p6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428" name="Google Shape;4428;p64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429" name="Google Shape;4429;p6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430" name="Google Shape;4430;p6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31" name="Google Shape;4431;p6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432" name="Google Shape;4432;p6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433" name="Google Shape;4433;p6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 2">
    <p:spTree>
      <p:nvGrpSpPr>
        <p:cNvPr id="1" name="Shape 4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35" name="Google Shape;4435;p6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36" name="Google Shape;4436;p6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37" name="Google Shape;4437;p6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38" name="Google Shape;4438;p6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9" name="Google Shape;4439;p6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40" name="Google Shape;4440;p6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41" name="Google Shape;4441;p6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42" name="Google Shape;4442;p6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43" name="Google Shape;4443;p6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44" name="Google Shape;4444;p6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 2">
    <p:spTree>
      <p:nvGrpSpPr>
        <p:cNvPr id="1" name="Shape 4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46" name="Google Shape;4446;p6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47" name="Google Shape;4447;p6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48" name="Google Shape;4448;p6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49" name="Google Shape;4449;p6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0" name="Google Shape;4450;p6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51" name="Google Shape;4451;p6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52" name="Google Shape;4452;p6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53" name="Google Shape;4453;p6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54" name="Google Shape;4454;p6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55" name="Google Shape;4455;p6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 3">
    <p:spTree>
      <p:nvGrpSpPr>
        <p:cNvPr id="1" name="Shape 4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57" name="Google Shape;4457;p6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58" name="Google Shape;4458;p6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59" name="Google Shape;4459;p6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60" name="Google Shape;4460;p6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1" name="Google Shape;4461;p6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62" name="Google Shape;4462;p6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63" name="Google Shape;4463;p6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64" name="Google Shape;4464;p6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65" name="Google Shape;4465;p6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66" name="Google Shape;4466;p6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 2">
    <p:bg>
      <p:bgPr>
        <a:solidFill>
          <a:schemeClr val="lt2"/>
        </a:solidFill>
        <a:effectLst/>
      </p:bgPr>
    </p:bg>
    <p:spTree>
      <p:nvGrpSpPr>
        <p:cNvPr id="1" name="Shape 4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68" name="Google Shape;4468;p64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69" name="Google Shape;4469;p64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70" name="Google Shape;4470;p6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71" name="Google Shape;4471;p64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72" name="Google Shape;4472;p6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473" name="Google Shape;4473;p64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74" name="Google Shape;4474;p64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4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76" name="Google Shape;4476;p6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77" name="Google Shape;4477;p6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78" name="Google Shape;4478;p6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79" name="Google Shape;4479;p6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0" name="Google Shape;4480;p6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81" name="Google Shape;4481;p6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82" name="Google Shape;4482;p64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83" name="Google Shape;4483;p6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84" name="Google Shape;4484;p6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85" name="Google Shape;4485;p6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" name="Google Shape;477;p1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8" name="Google Shape;478;p1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9" name="Google Shape;479;p1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0" name="Google Shape;480;p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1" name="Google Shape;481;p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2" name="Google Shape;482;p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3" name="Google Shape;483;p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4" name="Google Shape;484;p1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5" name="Google Shape;485;p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6" name="Google Shape;486;p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7" name="Google Shape;487;p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88" name="Google Shape;488;p1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 3">
    <p:bg>
      <p:bgPr>
        <a:solidFill>
          <a:schemeClr val="lt2"/>
        </a:solidFill>
        <a:effectLst/>
      </p:bgPr>
    </p:bg>
    <p:spTree>
      <p:nvGrpSpPr>
        <p:cNvPr id="1" name="Shape 44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87" name="Google Shape;4487;p64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88" name="Google Shape;4488;p64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89" name="Google Shape;4489;p64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90" name="Google Shape;4490;p64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91" name="Google Shape;4491;p6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492" name="Google Shape;4492;p64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93" name="Google Shape;4493;p64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 2">
    <p:spTree>
      <p:nvGrpSpPr>
        <p:cNvPr id="1" name="Shape 4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95" name="Google Shape;4495;p6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96" name="Google Shape;4496;p6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97" name="Google Shape;4497;p6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98" name="Google Shape;4498;p6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9" name="Google Shape;4499;p6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00" name="Google Shape;4500;p6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01" name="Google Shape;4501;p65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02" name="Google Shape;4502;p6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03" name="Google Shape;4503;p6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04" name="Google Shape;4504;p6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 2">
    <p:spTree>
      <p:nvGrpSpPr>
        <p:cNvPr id="1" name="Shape 4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06" name="Google Shape;4506;p6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07" name="Google Shape;4507;p6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08" name="Google Shape;4508;p6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09" name="Google Shape;4509;p6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0" name="Google Shape;4510;p6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11" name="Google Shape;4511;p6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12" name="Google Shape;4512;p6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13" name="Google Shape;4513;p6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14" name="Google Shape;4514;p6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15" name="Google Shape;4515;p6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 2">
    <p:spTree>
      <p:nvGrpSpPr>
        <p:cNvPr id="1" name="Shape 4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7" name="Google Shape;4517;p65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18" name="Google Shape;4518;p65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19" name="Google Shape;4519;p65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20" name="Google Shape;4520;p6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521" name="Google Shape;4521;p65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522" name="Google Shape;4522;p6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23" name="Google Shape;4523;p65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24" name="Google Shape;4524;p6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4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26" name="Google Shape;4526;p65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527" name="Google Shape;4527;p65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28" name="Google Shape;4528;p65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29" name="Google Shape;4529;p65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30" name="Google Shape;4530;p6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531" name="Google Shape;4531;p65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32" name="Google Shape;4532;p65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 2">
    <p:spTree>
      <p:nvGrpSpPr>
        <p:cNvPr id="1" name="Shape 4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4" name="Google Shape;4534;p6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535" name="Google Shape;4535;p6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536" name="Google Shape;4536;p6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537" name="Google Shape;4537;p6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38" name="Google Shape;4538;p6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539" name="Google Shape;4539;p6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540" name="Google Shape;4540;p6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4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2" name="Google Shape;4542;p6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43" name="Google Shape;4543;p6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44" name="Google Shape;4544;p6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45" name="Google Shape;4545;p6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46" name="Google Shape;4546;p6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47" name="Google Shape;4547;p6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548" name="Google Shape;4548;p6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49" name="Google Shape;4549;p6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50" name="Google Shape;4550;p6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51" name="Google Shape;4551;p6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2" name="Google Shape;4552;p6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553" name="Google Shape;4553;p6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45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5" name="Google Shape;4555;p65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56" name="Google Shape;4556;p65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57" name="Google Shape;4557;p65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58" name="Google Shape;4558;p6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59" name="Google Shape;4559;p6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60" name="Google Shape;4560;p6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561" name="Google Shape;4561;p6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62" name="Google Shape;4562;p6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63" name="Google Shape;4563;p6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64" name="Google Shape;4564;p6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5" name="Google Shape;4565;p6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566" name="Google Shape;4566;p65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4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68" name="Google Shape;4568;p6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69" name="Google Shape;4569;p6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70" name="Google Shape;4570;p6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71" name="Google Shape;4571;p6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2" name="Google Shape;4572;p6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73" name="Google Shape;4573;p6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74" name="Google Shape;4574;p6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75" name="Google Shape;4575;p6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76" name="Google Shape;4576;p6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77" name="Google Shape;4577;p6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 2">
    <p:spTree>
      <p:nvGrpSpPr>
        <p:cNvPr id="1" name="Shape 4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79" name="Google Shape;4579;p6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0" name="Google Shape;4580;p6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581" name="Google Shape;4581;p6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82" name="Google Shape;4582;p6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83" name="Google Shape;4583;p6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84" name="Google Shape;4584;p6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5" name="Google Shape;4585;p6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86" name="Google Shape;4586;p65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87" name="Google Shape;4587;p65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88" name="Google Shape;4588;p6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89" name="Google Shape;4589;p6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" name="Google Shape;490;p1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1" name="Google Shape;491;p1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92" name="Google Shape;492;p1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3" name="Google Shape;493;p1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4" name="Google Shape;494;p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5" name="Google Shape;495;p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6" name="Google Shape;496;p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7" name="Google Shape;497;p1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8" name="Google Shape;498;p1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9" name="Google Shape;499;p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0" name="Google Shape;500;p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91" name="Google Shape;4591;p6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92" name="Google Shape;4592;p6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93" name="Google Shape;4593;p6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94" name="Google Shape;4594;p6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5" name="Google Shape;4595;p6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96" name="Google Shape;4596;p6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97" name="Google Shape;4597;p65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98" name="Google Shape;4598;p65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99" name="Google Shape;4599;p65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600" name="Google Shape;4600;p65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01" name="Google Shape;4601;p6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02" name="Google Shape;4602;p6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03" name="Google Shape;4603;p6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05" name="Google Shape;4605;p6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06" name="Google Shape;4606;p6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07" name="Google Shape;4607;p6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08" name="Google Shape;4608;p6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9" name="Google Shape;4609;p6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610" name="Google Shape;4610;p6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11" name="Google Shape;4611;p6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12" name="Google Shape;4612;p6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13" name="Google Shape;4613;p6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4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15" name="Google Shape;4615;p66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616" name="Google Shape;4616;p66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17" name="Google Shape;4617;p66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18" name="Google Shape;4618;p66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19" name="Google Shape;4619;p66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20" name="Google Shape;4620;p66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621" name="Google Shape;4621;p6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622" name="Google Shape;4622;p66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4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4" name="Google Shape;4624;p6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25" name="Google Shape;4625;p6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26" name="Google Shape;4626;p6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627" name="Google Shape;4627;p6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28" name="Google Shape;4628;p6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29" name="Google Shape;4629;p6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30" name="Google Shape;4630;p6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1" name="Google Shape;4631;p6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2">
    <p:spTree>
      <p:nvGrpSpPr>
        <p:cNvPr id="1" name="Shape 4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3" name="Google Shape;4633;p6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34" name="Google Shape;4634;p6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35" name="Google Shape;4635;p6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36" name="Google Shape;4636;p6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37" name="Google Shape;4637;p6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38" name="Google Shape;4638;p6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639" name="Google Shape;4639;p6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40" name="Google Shape;4640;p6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41" name="Google Shape;4641;p6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42" name="Google Shape;4642;p6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3" name="Google Shape;4643;p6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44" name="Google Shape;4644;p6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3">
    <p:spTree>
      <p:nvGrpSpPr>
        <p:cNvPr id="1" name="Shape 4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6" name="Google Shape;4646;p6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47" name="Google Shape;4647;p6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48" name="Google Shape;4648;p6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49" name="Google Shape;4649;p6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50" name="Google Shape;4650;p6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51" name="Google Shape;4651;p6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652" name="Google Shape;4652;p6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53" name="Google Shape;4653;p6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54" name="Google Shape;4654;p6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55" name="Google Shape;4655;p6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6" name="Google Shape;4656;p6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57" name="Google Shape;4657;p6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 3">
    <p:spTree>
      <p:nvGrpSpPr>
        <p:cNvPr id="1" name="Shape 4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9" name="Google Shape;4659;p66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60" name="Google Shape;4660;p66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61" name="Google Shape;4661;p66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662" name="Google Shape;4662;p66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663" name="Google Shape;4663;p66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664" name="Google Shape;4664;p66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65" name="Google Shape;4665;p66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66" name="Google Shape;4666;p6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 2">
    <p:bg>
      <p:bgPr>
        <a:solidFill>
          <a:schemeClr val="lt2"/>
        </a:solidFill>
        <a:effectLst/>
      </p:bgPr>
    </p:bg>
    <p:spTree>
      <p:nvGrpSpPr>
        <p:cNvPr id="1" name="Shape 4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68" name="Google Shape;4668;p66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669" name="Google Shape;4669;p66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0" name="Google Shape;4670;p66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1" name="Google Shape;4671;p66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72" name="Google Shape;4672;p6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673" name="Google Shape;4673;p66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74" name="Google Shape;4674;p66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 3">
    <p:spTree>
      <p:nvGrpSpPr>
        <p:cNvPr id="1" name="Shape 4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76" name="Google Shape;4676;p66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677" name="Google Shape;4677;p66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678" name="Google Shape;4678;p66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679" name="Google Shape;4679;p66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80" name="Google Shape;4680;p66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81" name="Google Shape;4681;p66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682" name="Google Shape;4682;p6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4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4" name="Google Shape;4684;p66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85" name="Google Shape;4685;p66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86" name="Google Shape;4686;p66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87" name="Google Shape;4687;p6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88" name="Google Shape;4688;p6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89" name="Google Shape;4689;p6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690" name="Google Shape;4690;p6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91" name="Google Shape;4691;p6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92" name="Google Shape;4692;p6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93" name="Google Shape;4693;p6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4" name="Google Shape;4694;p6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95" name="Google Shape;4695;p66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2" name="Google Shape;502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3" name="Google Shape;503;p1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4" name="Google Shape;504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5" name="Google Shape;505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7" name="Google Shape;507;p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10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9" name="Google Shape;509;p10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0" name="Google Shape;510;p10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11" name="Google Shape;511;p10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2" name="Google Shape;512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3" name="Google Shape;513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4" name="Google Shape;514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 2">
    <p:spTree>
      <p:nvGrpSpPr>
        <p:cNvPr id="1" name="Shape 4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97" name="Google Shape;4697;p6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98" name="Google Shape;4698;p6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99" name="Google Shape;4699;p6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00" name="Google Shape;4700;p6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1" name="Google Shape;4701;p6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02" name="Google Shape;4702;p6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03" name="Google Shape;4703;p66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04" name="Google Shape;4704;p6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05" name="Google Shape;4705;p6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06" name="Google Shape;4706;p6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 3">
    <p:spTree>
      <p:nvGrpSpPr>
        <p:cNvPr id="1" name="Shape 4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8" name="Google Shape;4708;p6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09" name="Google Shape;4709;p67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710" name="Google Shape;4710;p6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11" name="Google Shape;4711;p6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12" name="Google Shape;4712;p6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13" name="Google Shape;4713;p6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14" name="Google Shape;4714;p6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15" name="Google Shape;4715;p67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16" name="Google Shape;4716;p67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17" name="Google Shape;4717;p6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18" name="Google Shape;4718;p6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TWO_OBJECTS_WITH_TEXT 2">
    <p:spTree>
      <p:nvGrpSpPr>
        <p:cNvPr id="1" name="Shape 4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20" name="Google Shape;4720;p6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21" name="Google Shape;4721;p6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22" name="Google Shape;4722;p6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23" name="Google Shape;4723;p6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24" name="Google Shape;4724;p6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25" name="Google Shape;4725;p6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26" name="Google Shape;4726;p67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727" name="Google Shape;4727;p67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28" name="Google Shape;4728;p67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729" name="Google Shape;4729;p67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30" name="Google Shape;4730;p6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31" name="Google Shape;4731;p6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32" name="Google Shape;4732;p6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_ONLY 2">
    <p:spTree>
      <p:nvGrpSpPr>
        <p:cNvPr id="1" name="Shape 4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34" name="Google Shape;4734;p6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35" name="Google Shape;4735;p6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36" name="Google Shape;4736;p6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37" name="Google Shape;4737;p6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38" name="Google Shape;4738;p6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39" name="Google Shape;4739;p6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40" name="Google Shape;4740;p6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41" name="Google Shape;4741;p6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42" name="Google Shape;4742;p6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4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44" name="Google Shape;4744;p67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745" name="Google Shape;4745;p67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6" name="Google Shape;4746;p67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47" name="Google Shape;4747;p67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48" name="Google Shape;4748;p67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49" name="Google Shape;4749;p67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750" name="Google Shape;4750;p6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751" name="Google Shape;4751;p67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4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53" name="Google Shape;4753;p6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54" name="Google Shape;4754;p6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55" name="Google Shape;4755;p6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756" name="Google Shape;4756;p6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57" name="Google Shape;4757;p6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58" name="Google Shape;4758;p6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59" name="Google Shape;4759;p6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60" name="Google Shape;4760;p6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4">
    <p:spTree>
      <p:nvGrpSpPr>
        <p:cNvPr id="1" name="Shape 4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2" name="Google Shape;4762;p6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63" name="Google Shape;4763;p6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64" name="Google Shape;4764;p6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65" name="Google Shape;4765;p6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66" name="Google Shape;4766;p6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67" name="Google Shape;4767;p6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768" name="Google Shape;4768;p6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69" name="Google Shape;4769;p6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70" name="Google Shape;4770;p6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71" name="Google Shape;4771;p6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72" name="Google Shape;4772;p6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773" name="Google Shape;4773;p6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 4">
    <p:spTree>
      <p:nvGrpSpPr>
        <p:cNvPr id="1" name="Shape 4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5" name="Google Shape;4775;p67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76" name="Google Shape;4776;p67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77" name="Google Shape;4777;p67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778" name="Google Shape;4778;p6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779" name="Google Shape;4779;p67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780" name="Google Shape;4780;p6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1" name="Google Shape;4781;p67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782" name="Google Shape;4782;p6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 3">
    <p:bg>
      <p:bgPr>
        <a:solidFill>
          <a:schemeClr val="lt2"/>
        </a:solidFill>
        <a:effectLst/>
      </p:bgPr>
    </p:bg>
    <p:spTree>
      <p:nvGrpSpPr>
        <p:cNvPr id="1" name="Shape 4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84" name="Google Shape;4784;p67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785" name="Google Shape;4785;p67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6" name="Google Shape;4786;p6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7" name="Google Shape;4787;p67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788" name="Google Shape;4788;p6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789" name="Google Shape;4789;p67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90" name="Google Shape;4790;p67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 4">
    <p:spTree>
      <p:nvGrpSpPr>
        <p:cNvPr id="1" name="Shape 4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92" name="Google Shape;4792;p6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93" name="Google Shape;4793;p6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94" name="Google Shape;4794;p6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95" name="Google Shape;4795;p6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6" name="Google Shape;4796;p6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97" name="Google Shape;4797;p6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98" name="Google Shape;4798;p6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6" name="Google Shape;516;p1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7" name="Google Shape;517;p1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8" name="Google Shape;518;p1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9" name="Google Shape;519;p1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0" name="Google Shape;520;p1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1" name="Google Shape;521;p1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2" name="Google Shape;522;p1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3" name="Google Shape;523;p1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4" name="Google Shape;524;p1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4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0" name="Google Shape;4800;p6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01" name="Google Shape;4801;p6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02" name="Google Shape;4802;p6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03" name="Google Shape;4803;p6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04" name="Google Shape;4804;p6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05" name="Google Shape;4805;p6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806" name="Google Shape;4806;p6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07" name="Google Shape;4807;p6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08" name="Google Shape;4808;p6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09" name="Google Shape;4809;p6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10" name="Google Shape;4810;p6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811" name="Google Shape;4811;p6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 3">
    <p:spTree>
      <p:nvGrpSpPr>
        <p:cNvPr id="1" name="Shape 4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13" name="Google Shape;4813;p6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14" name="Google Shape;4814;p6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15" name="Google Shape;4815;p6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16" name="Google Shape;4816;p6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17" name="Google Shape;4817;p6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18" name="Google Shape;4818;p6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19" name="Google Shape;4819;p68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20" name="Google Shape;4820;p6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21" name="Google Shape;4821;p6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22" name="Google Shape;4822;p6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 4">
    <p:spTree>
      <p:nvGrpSpPr>
        <p:cNvPr id="1" name="Shape 4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24" name="Google Shape;4824;p6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25" name="Google Shape;4825;p6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826" name="Google Shape;4826;p6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27" name="Google Shape;4827;p6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28" name="Google Shape;4828;p6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29" name="Google Shape;4829;p6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30" name="Google Shape;4830;p6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31" name="Google Shape;4831;p6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32" name="Google Shape;4832;p6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33" name="Google Shape;4833;p6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34" name="Google Shape;4834;p6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TWO_OBJECTS_WITH_TEXT 3">
    <p:spTree>
      <p:nvGrpSpPr>
        <p:cNvPr id="1" name="Shape 4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36" name="Google Shape;4836;p6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37" name="Google Shape;4837;p6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38" name="Google Shape;4838;p6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39" name="Google Shape;4839;p6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40" name="Google Shape;4840;p6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41" name="Google Shape;4841;p6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42" name="Google Shape;4842;p68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43" name="Google Shape;4843;p68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4" name="Google Shape;4844;p6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45" name="Google Shape;4845;p6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6" name="Google Shape;4846;p6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47" name="Google Shape;4847;p6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48" name="Google Shape;4848;p6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_ONLY 3">
    <p:spTree>
      <p:nvGrpSpPr>
        <p:cNvPr id="1" name="Shape 48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50" name="Google Shape;4850;p6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51" name="Google Shape;4851;p6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52" name="Google Shape;4852;p6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53" name="Google Shape;4853;p6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54" name="Google Shape;4854;p6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55" name="Google Shape;4855;p6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56" name="Google Shape;4856;p6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57" name="Google Shape;4857;p6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58" name="Google Shape;4858;p6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48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60" name="Google Shape;4860;p68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861" name="Google Shape;4861;p68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2" name="Google Shape;4862;p68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863" name="Google Shape;4863;p68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64" name="Google Shape;4864;p68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65" name="Google Shape;4865;p68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866" name="Google Shape;4866;p6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867" name="Google Shape;4867;p6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4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69" name="Google Shape;4869;p6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70" name="Google Shape;4870;p6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71" name="Google Shape;4871;p6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872" name="Google Shape;4872;p6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73" name="Google Shape;4873;p6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74" name="Google Shape;4874;p6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75" name="Google Shape;4875;p6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76" name="Google Shape;4876;p6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5">
    <p:spTree>
      <p:nvGrpSpPr>
        <p:cNvPr id="1" name="Shape 4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8" name="Google Shape;4878;p6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79" name="Google Shape;4879;p6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80" name="Google Shape;4880;p6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81" name="Google Shape;4881;p6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82" name="Google Shape;4882;p6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83" name="Google Shape;4883;p6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884" name="Google Shape;4884;p6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85" name="Google Shape;4885;p6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86" name="Google Shape;4886;p6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87" name="Google Shape;4887;p6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88" name="Google Shape;4888;p6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889" name="Google Shape;4889;p68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48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1" name="Google Shape;4891;p68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92" name="Google Shape;4892;p68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93" name="Google Shape;4893;p68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894" name="Google Shape;4894;p6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895" name="Google Shape;4895;p68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896" name="Google Shape;4896;p6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7" name="Google Shape;4897;p68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898" name="Google Shape;4898;p6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4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00" name="Google Shape;4900;p68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901" name="Google Shape;4901;p68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2" name="Google Shape;4902;p68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3" name="Google Shape;4903;p68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904" name="Google Shape;4904;p6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905" name="Google Shape;4905;p68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06" name="Google Shape;4906;p68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6" name="Google Shape;526;p10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27" name="Google Shape;527;p10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0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9" name="Google Shape;529;p10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0" name="Google Shape;530;p10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" name="Google Shape;531;p10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32" name="Google Shape;532;p1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33" name="Google Shape;533;p10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49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8" name="Google Shape;4908;p68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909" name="Google Shape;4909;p68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910" name="Google Shape;4910;p68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911" name="Google Shape;4911;p68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2" name="Google Shape;4912;p68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913" name="Google Shape;4913;p68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914" name="Google Shape;4914;p6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2">
    <p:spTree>
      <p:nvGrpSpPr>
        <p:cNvPr id="1" name="Shape 49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6" name="Google Shape;4916;p6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17" name="Google Shape;4917;p6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18" name="Google Shape;4918;p6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19" name="Google Shape;4919;p6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20" name="Google Shape;4920;p6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21" name="Google Shape;4921;p6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922" name="Google Shape;4922;p6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23" name="Google Shape;4923;p6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24" name="Google Shape;4924;p6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25" name="Google Shape;4925;p6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26" name="Google Shape;4926;p6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27" name="Google Shape;4927;p6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3">
    <p:spTree>
      <p:nvGrpSpPr>
        <p:cNvPr id="1" name="Shape 4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9" name="Google Shape;4929;p6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30" name="Google Shape;4930;p6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31" name="Google Shape;4931;p6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32" name="Google Shape;4932;p6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33" name="Google Shape;4933;p6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34" name="Google Shape;4934;p6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935" name="Google Shape;4935;p6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36" name="Google Shape;4936;p6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37" name="Google Shape;4937;p6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38" name="Google Shape;4938;p6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39" name="Google Shape;4939;p6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40" name="Google Shape;4940;p69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49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2" name="Google Shape;4942;p6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43" name="Google Shape;4943;p6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944" name="Google Shape;4944;p6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45" name="Google Shape;4945;p6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46" name="Google Shape;4946;p6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47" name="Google Shape;4947;p6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48" name="Google Shape;4948;p6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49" name="Google Shape;4949;p6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50" name="Google Shape;4950;p6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51" name="Google Shape;4951;p6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52" name="Google Shape;4952;p6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4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54" name="Google Shape;4954;p6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55" name="Google Shape;4955;p6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56" name="Google Shape;4956;p6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57" name="Google Shape;4957;p6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58" name="Google Shape;4958;p6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59" name="Google Shape;4959;p6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60" name="Google Shape;4960;p6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961" name="Google Shape;4961;p6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62" name="Google Shape;4962;p6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963" name="Google Shape;4963;p6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64" name="Google Shape;4964;p6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65" name="Google Shape;4965;p6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66" name="Google Shape;4966;p6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4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68" name="Google Shape;4968;p6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69" name="Google Shape;4969;p6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70" name="Google Shape;4970;p6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71" name="Google Shape;4971;p6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72" name="Google Shape;4972;p6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73" name="Google Shape;4973;p6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74" name="Google Shape;4974;p6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75" name="Google Shape;4975;p6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76" name="Google Shape;4976;p6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 2">
    <p:spTree>
      <p:nvGrpSpPr>
        <p:cNvPr id="1" name="Shape 4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78" name="Google Shape;4978;p6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979" name="Google Shape;4979;p6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0" name="Google Shape;4980;p6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981" name="Google Shape;4981;p6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82" name="Google Shape;4982;p6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83" name="Google Shape;4983;p6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984" name="Google Shape;4984;p6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985" name="Google Shape;4985;p6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4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7" name="Google Shape;4987;p69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88" name="Google Shape;4988;p69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89" name="Google Shape;4989;p69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90" name="Google Shape;4990;p6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91" name="Google Shape;4991;p6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92" name="Google Shape;4992;p6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993" name="Google Shape;4993;p6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94" name="Google Shape;4994;p6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95" name="Google Shape;4995;p6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96" name="Google Shape;4996;p6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97" name="Google Shape;4997;p6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98" name="Google Shape;4998;p69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4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0" name="Google Shape;5000;p69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01" name="Google Shape;5001;p6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02" name="Google Shape;5002;p6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03" name="Google Shape;5003;p6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04" name="Google Shape;5004;p6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05" name="Google Shape;5005;p6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006" name="Google Shape;5006;p6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07" name="Google Shape;5007;p6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08" name="Google Shape;5008;p6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09" name="Google Shape;5009;p6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10" name="Google Shape;5010;p6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11" name="Google Shape;5011;p69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 2">
    <p:spTree>
      <p:nvGrpSpPr>
        <p:cNvPr id="1" name="Shape 50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3" name="Google Shape;5013;p69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14" name="Google Shape;5014;p69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15" name="Google Shape;5015;p69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016" name="Google Shape;5016;p69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017" name="Google Shape;5017;p69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018" name="Google Shape;5018;p6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19" name="Google Shape;5019;p69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020" name="Google Shape;5020;p6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" name="Google Shape;64;p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65;p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66;p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" name="Google Shape;67;p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8" name="Google Shape;68;p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5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" name="Google Shape;535;p1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6" name="Google Shape;536;p1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7" name="Google Shape;537;p1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38" name="Google Shape;538;p1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9" name="Google Shape;539;p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0" name="Google Shape;540;p1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1" name="Google Shape;541;p1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2" name="Google Shape;542;p1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 2">
    <p:bg>
      <p:bgPr>
        <a:solidFill>
          <a:schemeClr val="lt2"/>
        </a:solidFill>
        <a:effectLst/>
      </p:bgPr>
    </p:bg>
    <p:spTree>
      <p:nvGrpSpPr>
        <p:cNvPr id="1" name="Shape 5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22" name="Google Shape;5022;p69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023" name="Google Shape;5023;p69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24" name="Google Shape;5024;p6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25" name="Google Shape;5025;p69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026" name="Google Shape;5026;p6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027" name="Google Shape;5027;p69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28" name="Google Shape;5028;p69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 2">
    <p:spTree>
      <p:nvGrpSpPr>
        <p:cNvPr id="1" name="Shape 5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0" name="Google Shape;5030;p7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031" name="Google Shape;5031;p7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032" name="Google Shape;5032;p7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033" name="Google Shape;5033;p7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34" name="Google Shape;5034;p7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35" name="Google Shape;5035;p7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036" name="Google Shape;5036;p7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4">
    <p:spTree>
      <p:nvGrpSpPr>
        <p:cNvPr id="1" name="Shape 50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8" name="Google Shape;5038;p7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9" name="Google Shape;5039;p7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40" name="Google Shape;5040;p7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41" name="Google Shape;5041;p7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42" name="Google Shape;5042;p7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43" name="Google Shape;5043;p7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044" name="Google Shape;5044;p7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45" name="Google Shape;5045;p7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46" name="Google Shape;5046;p7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47" name="Google Shape;5047;p7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8" name="Google Shape;5048;p7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49" name="Google Shape;5049;p7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5">
    <p:spTree>
      <p:nvGrpSpPr>
        <p:cNvPr id="1" name="Shape 5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51" name="Google Shape;5051;p7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52" name="Google Shape;5052;p7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53" name="Google Shape;5053;p7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54" name="Google Shape;5054;p7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55" name="Google Shape;5055;p7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56" name="Google Shape;5056;p7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057" name="Google Shape;5057;p7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58" name="Google Shape;5058;p7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59" name="Google Shape;5059;p7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60" name="Google Shape;5060;p7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1" name="Google Shape;5061;p7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62" name="Google Shape;5062;p7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6">
    <p:spTree>
      <p:nvGrpSpPr>
        <p:cNvPr id="1" name="Shape 50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4" name="Google Shape;5064;p70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65" name="Google Shape;5065;p7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66" name="Google Shape;5066;p7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67" name="Google Shape;5067;p7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68" name="Google Shape;5068;p7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69" name="Google Shape;5069;p7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070" name="Google Shape;5070;p7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71" name="Google Shape;5071;p7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72" name="Google Shape;5072;p7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73" name="Google Shape;5073;p7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4" name="Google Shape;5074;p7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75" name="Google Shape;5075;p70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 2">
    <p:spTree>
      <p:nvGrpSpPr>
        <p:cNvPr id="1" name="Shape 5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7" name="Google Shape;5077;p7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78" name="Google Shape;5078;p7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079" name="Google Shape;5079;p7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80" name="Google Shape;5080;p7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81" name="Google Shape;5081;p7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82" name="Google Shape;5082;p7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3" name="Google Shape;5083;p7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84" name="Google Shape;5084;p7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85" name="Google Shape;5085;p7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86" name="Google Shape;5086;p7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87" name="Google Shape;5087;p7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50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89" name="Google Shape;5089;p7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90" name="Google Shape;5090;p7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91" name="Google Shape;5091;p7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92" name="Google Shape;5092;p7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3" name="Google Shape;5093;p7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94" name="Google Shape;5094;p7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95" name="Google Shape;5095;p7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96" name="Google Shape;5096;p7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97" name="Google Shape;5097;p7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98" name="Google Shape;5098;p7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99" name="Google Shape;5099;p7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00" name="Google Shape;5100;p7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01" name="Google Shape;5101;p7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5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03" name="Google Shape;5103;p7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04" name="Google Shape;5104;p7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05" name="Google Shape;5105;p7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06" name="Google Shape;5106;p7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7" name="Google Shape;5107;p7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08" name="Google Shape;5108;p7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09" name="Google Shape;5109;p7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10" name="Google Shape;5110;p7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11" name="Google Shape;5111;p7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 3">
    <p:spTree>
      <p:nvGrpSpPr>
        <p:cNvPr id="1" name="Shape 5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13" name="Google Shape;5113;p7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114" name="Google Shape;5114;p7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15" name="Google Shape;5115;p7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116" name="Google Shape;5116;p7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17" name="Google Shape;5117;p7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18" name="Google Shape;5118;p7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119" name="Google Shape;5119;p7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120" name="Google Shape;5120;p7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5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Google Shape;5122;p70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23" name="Google Shape;5123;p70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24" name="Google Shape;5124;p70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25" name="Google Shape;5125;p7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26" name="Google Shape;5126;p7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27" name="Google Shape;5127;p7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28" name="Google Shape;5128;p7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29" name="Google Shape;5129;p7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30" name="Google Shape;5130;p7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31" name="Google Shape;5131;p7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2" name="Google Shape;5132;p7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33" name="Google Shape;5133;p70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4" name="Google Shape;544;p107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5" name="Google Shape;545;p107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46" name="Google Shape;546;p107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47" name="Google Shape;547;p107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07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49" name="Google Shape;549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5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5" name="Google Shape;5135;p70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36" name="Google Shape;5136;p70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7" name="Google Shape;5137;p70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38" name="Google Shape;5138;p70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39" name="Google Shape;5139;p7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40" name="Google Shape;5140;p7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41" name="Google Shape;5141;p7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42" name="Google Shape;5142;p7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43" name="Google Shape;5143;p7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44" name="Google Shape;5144;p7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45" name="Google Shape;5145;p7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46" name="Google Shape;5146;p70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5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8" name="Google Shape;5148;p71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49" name="Google Shape;5149;p7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50" name="Google Shape;5150;p7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1" name="Google Shape;5151;p7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52" name="Google Shape;5152;p7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53" name="Google Shape;5153;p7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54" name="Google Shape;5154;p7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55" name="Google Shape;5155;p7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56" name="Google Shape;5156;p7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57" name="Google Shape;5157;p7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58" name="Google Shape;5158;p7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59" name="Google Shape;5159;p71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5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61" name="Google Shape;5161;p7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62" name="Google Shape;5162;p7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63" name="Google Shape;5163;p7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64" name="Google Shape;5164;p7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5" name="Google Shape;5165;p7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66" name="Google Shape;5166;p7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67" name="Google Shape;5167;p7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68" name="Google Shape;5168;p7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69" name="Google Shape;5169;p7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70" name="Google Shape;5170;p7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71" name="Google Shape;5171;p7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72" name="Google Shape;5172;p7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4">
    <p:spTree>
      <p:nvGrpSpPr>
        <p:cNvPr id="1" name="Shape 5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4" name="Google Shape;5174;p7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75" name="Google Shape;5175;p7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76" name="Google Shape;5176;p7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77" name="Google Shape;5177;p7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78" name="Google Shape;5178;p7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9" name="Google Shape;5179;p7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80" name="Google Shape;5180;p7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81" name="Google Shape;5181;p7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82" name="Google Shape;5182;p7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83" name="Google Shape;5183;p7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84" name="Google Shape;5184;p7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85" name="Google Shape;5185;p7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4">
    <p:spTree>
      <p:nvGrpSpPr>
        <p:cNvPr id="1" name="Shape 5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7" name="Google Shape;5187;p7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88" name="Google Shape;5188;p7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89" name="Google Shape;5189;p7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90" name="Google Shape;5190;p7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91" name="Google Shape;5191;p7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92" name="Google Shape;5192;p7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93" name="Google Shape;5193;p7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94" name="Google Shape;5194;p7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95" name="Google Shape;5195;p7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96" name="Google Shape;5196;p7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97" name="Google Shape;5197;p7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98" name="Google Shape;5198;p7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5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0" name="Google Shape;5200;p71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01" name="Google Shape;5201;p71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02" name="Google Shape;5202;p71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203" name="Google Shape;5203;p7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204" name="Google Shape;5204;p71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205" name="Google Shape;5205;p7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06" name="Google Shape;5206;p71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07" name="Google Shape;5207;p7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5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09" name="Google Shape;5209;p71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210" name="Google Shape;5210;p71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11" name="Google Shape;5211;p7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12" name="Google Shape;5212;p71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13" name="Google Shape;5213;p7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214" name="Google Shape;5214;p7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15" name="Google Shape;5215;p7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5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7" name="Google Shape;5217;p71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218" name="Google Shape;5218;p71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219" name="Google Shape;5219;p71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220" name="Google Shape;5220;p71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1" name="Google Shape;5221;p71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22" name="Google Shape;5222;p71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223" name="Google Shape;5223;p7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2">
    <p:spTree>
      <p:nvGrpSpPr>
        <p:cNvPr id="1" name="Shape 5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5" name="Google Shape;5225;p7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26" name="Google Shape;5226;p7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27" name="Google Shape;5227;p7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28" name="Google Shape;5228;p7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29" name="Google Shape;5229;p7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30" name="Google Shape;5230;p7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231" name="Google Shape;5231;p7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32" name="Google Shape;5232;p7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33" name="Google Shape;5233;p7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34" name="Google Shape;5234;p7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35" name="Google Shape;5235;p7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236" name="Google Shape;5236;p7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3">
    <p:spTree>
      <p:nvGrpSpPr>
        <p:cNvPr id="1" name="Shape 5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38" name="Google Shape;5238;p7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39" name="Google Shape;5239;p7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40" name="Google Shape;5240;p7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41" name="Google Shape;5241;p7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42" name="Google Shape;5242;p7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43" name="Google Shape;5243;p7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244" name="Google Shape;5244;p7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45" name="Google Shape;5245;p7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46" name="Google Shape;5246;p7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47" name="Google Shape;5247;p7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8" name="Google Shape;5248;p7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249" name="Google Shape;5249;p7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5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1" name="Google Shape;551;p10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52" name="Google Shape;552;p10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3" name="Google Shape;553;p1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4" name="Google Shape;554;p10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55" name="Google Shape;555;p1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56" name="Google Shape;556;p10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7" name="Google Shape;557;p10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 2">
    <p:spTree>
      <p:nvGrpSpPr>
        <p:cNvPr id="1" name="Shape 5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51" name="Google Shape;5251;p7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52" name="Google Shape;5252;p7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53" name="Google Shape;5253;p7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54" name="Google Shape;5254;p7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55" name="Google Shape;5255;p7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56" name="Google Shape;5256;p7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7" name="Google Shape;5257;p71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58" name="Google Shape;5258;p71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59" name="Google Shape;5259;p71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60" name="Google Shape;5260;p71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61" name="Google Shape;5261;p7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62" name="Google Shape;5262;p7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63" name="Google Shape;5263;p7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 2">
    <p:spTree>
      <p:nvGrpSpPr>
        <p:cNvPr id="1" name="Shape 5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65" name="Google Shape;5265;p7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66" name="Google Shape;5266;p7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67" name="Google Shape;5267;p7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68" name="Google Shape;5268;p7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9" name="Google Shape;5269;p7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70" name="Google Shape;5270;p7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1" name="Google Shape;5271;p7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72" name="Google Shape;5272;p7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73" name="Google Shape;5273;p7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 2">
    <p:spTree>
      <p:nvGrpSpPr>
        <p:cNvPr id="1" name="Shape 5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5" name="Google Shape;5275;p72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76" name="Google Shape;5276;p72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7" name="Google Shape;5277;p72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278" name="Google Shape;5278;p7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279" name="Google Shape;5279;p72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280" name="Google Shape;5280;p72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1" name="Google Shape;5281;p72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82" name="Google Shape;5282;p7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 2">
    <p:bg>
      <p:bgPr>
        <a:solidFill>
          <a:schemeClr val="lt2"/>
        </a:solidFill>
        <a:effectLst/>
      </p:bgPr>
    </p:bg>
    <p:spTree>
      <p:nvGrpSpPr>
        <p:cNvPr id="1" name="Shape 5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4" name="Google Shape;5284;p72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285" name="Google Shape;5285;p72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6" name="Google Shape;5286;p72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7" name="Google Shape;5287;p72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88" name="Google Shape;5288;p7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289" name="Google Shape;5289;p72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90" name="Google Shape;5290;p72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 2">
    <p:spTree>
      <p:nvGrpSpPr>
        <p:cNvPr id="1" name="Shape 5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92" name="Google Shape;5292;p72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293" name="Google Shape;5293;p72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294" name="Google Shape;5294;p72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295" name="Google Shape;5295;p72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6" name="Google Shape;5296;p72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97" name="Google Shape;5297;p72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298" name="Google Shape;5298;p7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4">
    <p:spTree>
      <p:nvGrpSpPr>
        <p:cNvPr id="1" name="Shape 5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0" name="Google Shape;5300;p72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01" name="Google Shape;5301;p72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02" name="Google Shape;5302;p72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03" name="Google Shape;5303;p7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04" name="Google Shape;5304;p7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05" name="Google Shape;5305;p7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306" name="Google Shape;5306;p7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07" name="Google Shape;5307;p7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08" name="Google Shape;5308;p7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09" name="Google Shape;5309;p7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10" name="Google Shape;5310;p7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11" name="Google Shape;5311;p72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5">
    <p:spTree>
      <p:nvGrpSpPr>
        <p:cNvPr id="1" name="Shape 5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3" name="Google Shape;5313;p7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14" name="Google Shape;5314;p7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15" name="Google Shape;5315;p7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6" name="Google Shape;5316;p7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17" name="Google Shape;5317;p7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18" name="Google Shape;5318;p7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319" name="Google Shape;5319;p7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20" name="Google Shape;5320;p7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21" name="Google Shape;5321;p7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22" name="Google Shape;5322;p7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23" name="Google Shape;5323;p7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24" name="Google Shape;5324;p72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6">
    <p:spTree>
      <p:nvGrpSpPr>
        <p:cNvPr id="1" name="Shape 5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6" name="Google Shape;5326;p72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27" name="Google Shape;5327;p72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28" name="Google Shape;5328;p72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29" name="Google Shape;5329;p7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30" name="Google Shape;5330;p7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31" name="Google Shape;5331;p7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332" name="Google Shape;5332;p7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33" name="Google Shape;5333;p7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34" name="Google Shape;5334;p7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35" name="Google Shape;5335;p7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36" name="Google Shape;5336;p7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37" name="Google Shape;5337;p72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 3">
    <p:spTree>
      <p:nvGrpSpPr>
        <p:cNvPr id="1" name="Shape 5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39" name="Google Shape;5339;p7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40" name="Google Shape;5340;p7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41" name="Google Shape;5341;p7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42" name="Google Shape;5342;p7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43" name="Google Shape;5343;p7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44" name="Google Shape;5344;p7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45" name="Google Shape;5345;p72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346" name="Google Shape;5346;p72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47" name="Google Shape;5347;p72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348" name="Google Shape;5348;p72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49" name="Google Shape;5349;p7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50" name="Google Shape;5350;p7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51" name="Google Shape;5351;p7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 3">
    <p:spTree>
      <p:nvGrpSpPr>
        <p:cNvPr id="1" name="Shape 5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53" name="Google Shape;5353;p7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54" name="Google Shape;5354;p7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55" name="Google Shape;5355;p7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56" name="Google Shape;5356;p7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57" name="Google Shape;5357;p7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58" name="Google Shape;5358;p7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59" name="Google Shape;5359;p7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60" name="Google Shape;5360;p7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61" name="Google Shape;5361;p7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Google Shape;559;p1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60" name="Google Shape;560;p1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61" name="Google Shape;561;p1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62" name="Google Shape;562;p1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3" name="Google Shape;563;p1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4" name="Google Shape;564;p1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65" name="Google Shape;565;p1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5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3" name="Google Shape;5363;p72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64" name="Google Shape;5364;p72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65" name="Google Shape;5365;p72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366" name="Google Shape;5366;p72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367" name="Google Shape;5367;p72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368" name="Google Shape;5368;p7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9" name="Google Shape;5369;p72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370" name="Google Shape;5370;p7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5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72" name="Google Shape;5372;p73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373" name="Google Shape;5373;p73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4" name="Google Shape;5374;p73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5" name="Google Shape;5375;p73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376" name="Google Shape;5376;p7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377" name="Google Shape;5377;p73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78" name="Google Shape;5378;p73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5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0" name="Google Shape;5380;p73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381" name="Google Shape;5381;p73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382" name="Google Shape;5382;p73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383" name="Google Shape;5383;p73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4" name="Google Shape;5384;p73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385" name="Google Shape;5385;p73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386" name="Google Shape;5386;p7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5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8" name="Google Shape;5388;p73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89" name="Google Shape;5389;p73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0" name="Google Shape;5390;p73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91" name="Google Shape;5391;p7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92" name="Google Shape;5392;p7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93" name="Google Shape;5393;p7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394" name="Google Shape;5394;p7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95" name="Google Shape;5395;p7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96" name="Google Shape;5396;p7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97" name="Google Shape;5397;p7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98" name="Google Shape;5398;p7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99" name="Google Shape;5399;p73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5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01" name="Google Shape;5401;p73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02" name="Google Shape;5402;p73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03" name="Google Shape;5403;p73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04" name="Google Shape;5404;p7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05" name="Google Shape;5405;p7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06" name="Google Shape;5406;p7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407" name="Google Shape;5407;p7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08" name="Google Shape;5408;p7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09" name="Google Shape;5409;p7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10" name="Google Shape;5410;p7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11" name="Google Shape;5411;p7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412" name="Google Shape;5412;p73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4" name="Google Shape;5414;p7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15" name="Google Shape;5415;p73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416" name="Google Shape;5416;p7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17" name="Google Shape;5417;p7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18" name="Google Shape;5418;p7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19" name="Google Shape;5419;p7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20" name="Google Shape;5420;p7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21" name="Google Shape;5421;p73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22" name="Google Shape;5422;p73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23" name="Google Shape;5423;p7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24" name="Google Shape;5424;p7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5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26" name="Google Shape;5426;p7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27" name="Google Shape;5427;p7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28" name="Google Shape;5428;p7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29" name="Google Shape;5429;p7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30" name="Google Shape;5430;p7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31" name="Google Shape;5431;p7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32" name="Google Shape;5432;p73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33" name="Google Shape;5433;p73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34" name="Google Shape;5434;p73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35" name="Google Shape;5435;p73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36" name="Google Shape;5436;p7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37" name="Google Shape;5437;p7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38" name="Google Shape;5438;p7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40" name="Google Shape;5440;p7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41" name="Google Shape;5441;p7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42" name="Google Shape;5442;p7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43" name="Google Shape;5443;p7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44" name="Google Shape;5444;p7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45" name="Google Shape;5445;p7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46" name="Google Shape;5446;p7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47" name="Google Shape;5447;p7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48" name="Google Shape;5448;p7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 2">
    <p:spTree>
      <p:nvGrpSpPr>
        <p:cNvPr id="1" name="Shape 5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50" name="Google Shape;5450;p73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451" name="Google Shape;5451;p73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2" name="Google Shape;5452;p73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53" name="Google Shape;5453;p73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54" name="Google Shape;5454;p73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55" name="Google Shape;5455;p73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456" name="Google Shape;5456;p7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457" name="Google Shape;5457;p73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 2">
    <p:spTree>
      <p:nvGrpSpPr>
        <p:cNvPr id="1" name="Shape 54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59" name="Google Shape;5459;p7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60" name="Google Shape;5460;p7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61" name="Google Shape;5461;p7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462" name="Google Shape;5462;p7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63" name="Google Shape;5463;p7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64" name="Google Shape;5464;p7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65" name="Google Shape;5465;p7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66" name="Google Shape;5466;p7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Google Shape;567;p11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8" name="Google Shape;568;p11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9" name="Google Shape;569;p11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70" name="Google Shape;570;p11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71" name="Google Shape;571;p11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72" name="Google Shape;572;p1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1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4" name="Google Shape;574;p1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68" name="Google Shape;5468;p739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69" name="Google Shape;5469;p739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470" name="Google Shape;5470;p739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471" name="Google Shape;5471;p739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2" name="Google Shape;5472;p739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473" name="Google Shape;5473;p7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 2">
    <p:spTree>
      <p:nvGrpSpPr>
        <p:cNvPr id="1" name="Shape 5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75" name="Google Shape;5475;p74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76" name="Google Shape;5476;p74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77" name="Google Shape;5477;p74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478" name="Google Shape;5478;p74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479" name="Google Shape;5479;p74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480" name="Google Shape;5480;p74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1" name="Google Shape;5481;p74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482" name="Google Shape;5482;p7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 2">
    <p:bg>
      <p:bgPr>
        <a:solidFill>
          <a:schemeClr val="lt2"/>
        </a:solidFill>
        <a:effectLst/>
      </p:bgPr>
    </p:bg>
    <p:spTree>
      <p:nvGrpSpPr>
        <p:cNvPr id="1" name="Shape 5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84" name="Google Shape;5484;p74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485" name="Google Shape;5485;p74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6" name="Google Shape;5486;p7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7" name="Google Shape;5487;p74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488" name="Google Shape;5488;p7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489" name="Google Shape;5489;p74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90" name="Google Shape;5490;p74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 2">
    <p:spTree>
      <p:nvGrpSpPr>
        <p:cNvPr id="1" name="Shape 5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2" name="Google Shape;5492;p74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493" name="Google Shape;5493;p74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494" name="Google Shape;5494;p74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495" name="Google Shape;5495;p74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6" name="Google Shape;5496;p74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97" name="Google Shape;5497;p74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498" name="Google Shape;5498;p7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 2">
    <p:spTree>
      <p:nvGrpSpPr>
        <p:cNvPr id="1" name="Shape 5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00" name="Google Shape;5500;p7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01" name="Google Shape;5501;p7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02" name="Google Shape;5502;p7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03" name="Google Shape;5503;p7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04" name="Google Shape;5504;p7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05" name="Google Shape;5505;p7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506" name="Google Shape;5506;p7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07" name="Google Shape;5507;p7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08" name="Google Shape;5508;p7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09" name="Google Shape;5509;p7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10" name="Google Shape;5510;p7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511" name="Google Shape;5511;p7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 2">
    <p:spTree>
      <p:nvGrpSpPr>
        <p:cNvPr id="1" name="Shape 5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13" name="Google Shape;5513;p7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14" name="Google Shape;5514;p7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15" name="Google Shape;5515;p7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16" name="Google Shape;5516;p7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17" name="Google Shape;5517;p7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18" name="Google Shape;5518;p7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519" name="Google Shape;5519;p7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20" name="Google Shape;5520;p7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21" name="Google Shape;5521;p7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22" name="Google Shape;5522;p7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23" name="Google Shape;5523;p7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524" name="Google Shape;5524;p7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 2">
    <p:spTree>
      <p:nvGrpSpPr>
        <p:cNvPr id="1" name="Shape 5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6" name="Google Shape;5526;p7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27" name="Google Shape;5527;p7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528" name="Google Shape;5528;p7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29" name="Google Shape;5529;p7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30" name="Google Shape;5530;p7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31" name="Google Shape;5531;p7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2" name="Google Shape;5532;p7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33" name="Google Shape;5533;p74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34" name="Google Shape;5534;p74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35" name="Google Shape;5535;p7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36" name="Google Shape;5536;p7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 2">
    <p:spTree>
      <p:nvGrpSpPr>
        <p:cNvPr id="1" name="Shape 5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38" name="Google Shape;5538;p7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39" name="Google Shape;5539;p7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40" name="Google Shape;5540;p7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41" name="Google Shape;5541;p7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2" name="Google Shape;5542;p7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43" name="Google Shape;5543;p7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44" name="Google Shape;5544;p74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45" name="Google Shape;5545;p74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46" name="Google Shape;5546;p74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47" name="Google Shape;5547;p74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48" name="Google Shape;5548;p7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49" name="Google Shape;5549;p7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50" name="Google Shape;5550;p7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 2">
    <p:spTree>
      <p:nvGrpSpPr>
        <p:cNvPr id="1" name="Shape 5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52" name="Google Shape;5552;p7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53" name="Google Shape;5553;p7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54" name="Google Shape;5554;p7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55" name="Google Shape;5555;p7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6" name="Google Shape;5556;p7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57" name="Google Shape;5557;p7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58" name="Google Shape;5558;p7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59" name="Google Shape;5559;p7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60" name="Google Shape;5560;p7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 3">
    <p:spTree>
      <p:nvGrpSpPr>
        <p:cNvPr id="1" name="Shape 55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62" name="Google Shape;5562;p123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563" name="Google Shape;5563;p123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64" name="Google Shape;5564;p123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565" name="Google Shape;5565;p123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66" name="Google Shape;5566;p123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67" name="Google Shape;5567;p123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568" name="Google Shape;5568;p12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569" name="Google Shape;5569;p123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6" name="Google Shape;576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7" name="Google Shape;577;p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8" name="Google Shape;578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9" name="Google Shape;579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0" name="Google Shape;580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81" name="Google Shape;581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2" name="Google Shape;582;p11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3" name="Google Shape;583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4" name="Google Shape;584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5" name="Google Shape;585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 3">
    <p:spTree>
      <p:nvGrpSpPr>
        <p:cNvPr id="1" name="Shape 5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71" name="Google Shape;5571;p7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72" name="Google Shape;5572;p7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73" name="Google Shape;5573;p7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574" name="Google Shape;5574;p7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75" name="Google Shape;5575;p7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76" name="Google Shape;5576;p7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77" name="Google Shape;5577;p7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8" name="Google Shape;5578;p7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 3">
    <p:spTree>
      <p:nvGrpSpPr>
        <p:cNvPr id="1" name="Shape 5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0" name="Google Shape;5580;p123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81" name="Google Shape;5581;p123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82" name="Google Shape;5582;p123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583" name="Google Shape;5583;p123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584" name="Google Shape;5584;p123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585" name="Google Shape;5585;p123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86" name="Google Shape;5586;p123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587" name="Google Shape;5587;p12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 3">
    <p:bg>
      <p:bgPr>
        <a:solidFill>
          <a:schemeClr val="lt2"/>
        </a:solidFill>
        <a:effectLst/>
      </p:bgPr>
    </p:bg>
    <p:spTree>
      <p:nvGrpSpPr>
        <p:cNvPr id="1" name="Shape 55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89" name="Google Shape;5589;p123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590" name="Google Shape;5590;p123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91" name="Google Shape;5591;p123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92" name="Google Shape;5592;p123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593" name="Google Shape;5593;p12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594" name="Google Shape;5594;p123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95" name="Google Shape;5595;p123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 3">
    <p:spTree>
      <p:nvGrpSpPr>
        <p:cNvPr id="1" name="Shape 5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7" name="Google Shape;5597;p123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598" name="Google Shape;5598;p123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599" name="Google Shape;5599;p123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600" name="Google Shape;5600;p123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01" name="Google Shape;5601;p123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02" name="Google Shape;5602;p123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603" name="Google Shape;5603;p12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 3">
    <p:spTree>
      <p:nvGrpSpPr>
        <p:cNvPr id="1" name="Shape 5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5" name="Google Shape;5605;p123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06" name="Google Shape;5606;p123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07" name="Google Shape;5607;p12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08" name="Google Shape;5608;p12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09" name="Google Shape;5609;p12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10" name="Google Shape;5610;p12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611" name="Google Shape;5611;p12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12" name="Google Shape;5612;p12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13" name="Google Shape;5613;p12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14" name="Google Shape;5614;p12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5" name="Google Shape;5615;p12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616" name="Google Shape;5616;p123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 3">
    <p:spTree>
      <p:nvGrpSpPr>
        <p:cNvPr id="1" name="Shape 5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8" name="Google Shape;5618;p123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19" name="Google Shape;5619;p123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20" name="Google Shape;5620;p123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21" name="Google Shape;5621;p12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22" name="Google Shape;5622;p12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23" name="Google Shape;5623;p12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624" name="Google Shape;5624;p12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25" name="Google Shape;5625;p12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26" name="Google Shape;5626;p12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27" name="Google Shape;5627;p12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8" name="Google Shape;5628;p12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629" name="Google Shape;5629;p123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 3">
    <p:spTree>
      <p:nvGrpSpPr>
        <p:cNvPr id="1" name="Shape 5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1" name="Google Shape;5631;p7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32" name="Google Shape;5632;p7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633" name="Google Shape;5633;p7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34" name="Google Shape;5634;p7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35" name="Google Shape;5635;p7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36" name="Google Shape;5636;p7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7" name="Google Shape;5637;p7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38" name="Google Shape;5638;p75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39" name="Google Shape;5639;p75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40" name="Google Shape;5640;p7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41" name="Google Shape;5641;p7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 3">
    <p:spTree>
      <p:nvGrpSpPr>
        <p:cNvPr id="1" name="Shape 5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43" name="Google Shape;5643;p12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44" name="Google Shape;5644;p12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45" name="Google Shape;5645;p12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46" name="Google Shape;5646;p12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7" name="Google Shape;5647;p12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48" name="Google Shape;5648;p12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49" name="Google Shape;5649;p124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650" name="Google Shape;5650;p124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51" name="Google Shape;5651;p124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652" name="Google Shape;5652;p124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53" name="Google Shape;5653;p12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54" name="Google Shape;5654;p12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55" name="Google Shape;5655;p12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 3">
    <p:spTree>
      <p:nvGrpSpPr>
        <p:cNvPr id="1" name="Shape 5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57" name="Google Shape;5657;p7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58" name="Google Shape;5658;p7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59" name="Google Shape;5659;p7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60" name="Google Shape;5660;p7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1" name="Google Shape;5661;p7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62" name="Google Shape;5662;p7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63" name="Google Shape;5663;p7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64" name="Google Shape;5664;p7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65" name="Google Shape;5665;p7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 4">
    <p:spTree>
      <p:nvGrpSpPr>
        <p:cNvPr id="1" name="Shape 5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67" name="Google Shape;5667;p75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668" name="Google Shape;5668;p75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69" name="Google Shape;5669;p75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70" name="Google Shape;5670;p75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71" name="Google Shape;5671;p75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72" name="Google Shape;5672;p75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673" name="Google Shape;5673;p7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674" name="Google Shape;5674;p7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1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8" name="Google Shape;588;p1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89" name="Google Shape;589;p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0" name="Google Shape;590;p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1" name="Google Shape;591;p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2" name="Google Shape;592;p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3" name="Google Shape;593;p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4" name="Google Shape;594;p11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5" name="Google Shape;595;p11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6" name="Google Shape;596;p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7" name="Google Shape;597;p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 4">
    <p:spTree>
      <p:nvGrpSpPr>
        <p:cNvPr id="1" name="Shape 5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6" name="Google Shape;5676;p7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77" name="Google Shape;5677;p7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78" name="Google Shape;5678;p7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679" name="Google Shape;5679;p7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80" name="Google Shape;5680;p7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81" name="Google Shape;5681;p7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82" name="Google Shape;5682;p7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3" name="Google Shape;5683;p7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5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85" name="Google Shape;5685;p7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686" name="Google Shape;5686;p7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87" name="Google Shape;5687;p7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88" name="Google Shape;5688;p7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689" name="Google Shape;5689;p7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690" name="Google Shape;5690;p7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91" name="Google Shape;5691;p7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5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93" name="Google Shape;5693;p76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694" name="Google Shape;5694;p76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695" name="Google Shape;5695;p76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696" name="Google Shape;5696;p76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97" name="Google Shape;5697;p76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98" name="Google Shape;5698;p76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699" name="Google Shape;5699;p7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7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1" name="Google Shape;5701;p76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02" name="Google Shape;5702;p76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03" name="Google Shape;5703;p76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704" name="Google Shape;5704;p7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705" name="Google Shape;5705;p76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706" name="Google Shape;5706;p76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07" name="Google Shape;5707;p76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08" name="Google Shape;5708;p7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5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10" name="Google Shape;5710;p7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11" name="Google Shape;5711;p7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12" name="Google Shape;5712;p7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13" name="Google Shape;5713;p7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4" name="Google Shape;5714;p7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15" name="Google Shape;5715;p7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16" name="Google Shape;5716;p76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17" name="Google Shape;5717;p7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18" name="Google Shape;5718;p7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19" name="Google Shape;5719;p7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5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1" name="Google Shape;5721;p7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22" name="Google Shape;5722;p7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723" name="Google Shape;5723;p7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24" name="Google Shape;5724;p7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25" name="Google Shape;5725;p7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26" name="Google Shape;5726;p7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27" name="Google Shape;5727;p7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28" name="Google Shape;5728;p76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29" name="Google Shape;5729;p76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30" name="Google Shape;5730;p7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31" name="Google Shape;5731;p7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33" name="Google Shape;5733;p7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34" name="Google Shape;5734;p7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35" name="Google Shape;5735;p7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36" name="Google Shape;5736;p7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37" name="Google Shape;5737;p7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38" name="Google Shape;5738;p7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39" name="Google Shape;5739;p76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740" name="Google Shape;5740;p76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41" name="Google Shape;5741;p76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742" name="Google Shape;5742;p76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43" name="Google Shape;5743;p7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44" name="Google Shape;5744;p7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45" name="Google Shape;5745;p7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5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7" name="Google Shape;5747;p7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48" name="Google Shape;5748;p7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49" name="Google Shape;5749;p7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50" name="Google Shape;5750;p7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51" name="Google Shape;5751;p7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52" name="Google Shape;5752;p7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753" name="Google Shape;5753;p7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54" name="Google Shape;5754;p7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55" name="Google Shape;5755;p7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56" name="Google Shape;5756;p7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57" name="Google Shape;5757;p7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758" name="Google Shape;5758;p7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2">
    <p:spTree>
      <p:nvGrpSpPr>
        <p:cNvPr id="1" name="Shape 5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0" name="Google Shape;5760;p76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61" name="Google Shape;5761;p76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62" name="Google Shape;5762;p76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63" name="Google Shape;5763;p7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64" name="Google Shape;5764;p7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65" name="Google Shape;5765;p7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766" name="Google Shape;5766;p7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67" name="Google Shape;5767;p7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68" name="Google Shape;5768;p7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69" name="Google Shape;5769;p7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70" name="Google Shape;5770;p7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771" name="Google Shape;5771;p76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57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73" name="Google Shape;5773;p76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774" name="Google Shape;5774;p76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5" name="Google Shape;5775;p76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776" name="Google Shape;5776;p76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77" name="Google Shape;5777;p76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78" name="Google Shape;5778;p76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779" name="Google Shape;5779;p7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780" name="Google Shape;5780;p7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9" name="Google Shape;599;p1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0" name="Google Shape;600;p1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1" name="Google Shape;601;p1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2" name="Google Shape;602;p1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3" name="Google Shape;603;p1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4" name="Google Shape;604;p11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p119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6" name="Google Shape;606;p119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7" name="Google Shape;607;p119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8" name="Google Shape;608;p119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9" name="Google Shape;609;p1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0" name="Google Shape;610;p1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1" name="Google Shape;611;p1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57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82" name="Google Shape;5782;p7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83" name="Google Shape;5783;p7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84" name="Google Shape;5784;p7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85" name="Google Shape;5785;p7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86" name="Google Shape;5786;p7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87" name="Google Shape;5787;p7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88" name="Google Shape;5788;p7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89" name="Google Shape;5789;p7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90" name="Google Shape;5790;p7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5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92" name="Google Shape;5792;p124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793" name="Google Shape;5793;p124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4" name="Google Shape;5794;p124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795" name="Google Shape;5795;p124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96" name="Google Shape;5796;p124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97" name="Google Shape;5797;p124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798" name="Google Shape;5798;p12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799" name="Google Shape;5799;p12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 2">
    <p:spTree>
      <p:nvGrpSpPr>
        <p:cNvPr id="1" name="Shape 5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01" name="Google Shape;5801;p7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02" name="Google Shape;5802;p7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03" name="Google Shape;5803;p7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04" name="Google Shape;5804;p7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05" name="Google Shape;5805;p7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06" name="Google Shape;5806;p7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07" name="Google Shape;5807;p7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08" name="Google Shape;5808;p7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5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0" name="Google Shape;5810;p7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11" name="Google Shape;5811;p7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12" name="Google Shape;5812;p7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13" name="Google Shape;5813;p7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14" name="Google Shape;5814;p7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15" name="Google Shape;5815;p7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16" name="Google Shape;5816;p7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17" name="Google Shape;5817;p7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18" name="Google Shape;5818;p7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19" name="Google Shape;5819;p7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20" name="Google Shape;5820;p7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21" name="Google Shape;5821;p7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2">
    <p:spTree>
      <p:nvGrpSpPr>
        <p:cNvPr id="1" name="Shape 5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23" name="Google Shape;5823;p7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24" name="Google Shape;5824;p7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25" name="Google Shape;5825;p7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26" name="Google Shape;5826;p7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27" name="Google Shape;5827;p7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28" name="Google Shape;5828;p7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29" name="Google Shape;5829;p7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30" name="Google Shape;5830;p7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31" name="Google Shape;5831;p7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32" name="Google Shape;5832;p7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33" name="Google Shape;5833;p7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34" name="Google Shape;5834;p7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5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" name="Google Shape;5836;p77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37" name="Google Shape;5837;p77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38" name="Google Shape;5838;p77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839" name="Google Shape;5839;p77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840" name="Google Shape;5840;p77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841" name="Google Shape;5841;p7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2" name="Google Shape;5842;p77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843" name="Google Shape;5843;p7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5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45" name="Google Shape;5845;p7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846" name="Google Shape;5846;p7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7" name="Google Shape;5847;p7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8" name="Google Shape;5848;p7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849" name="Google Shape;5849;p7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850" name="Google Shape;5850;p7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51" name="Google Shape;5851;p7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5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53" name="Google Shape;5853;p77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854" name="Google Shape;5854;p77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855" name="Google Shape;5855;p77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856" name="Google Shape;5856;p7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7" name="Google Shape;5857;p7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858" name="Google Shape;5858;p7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859" name="Google Shape;5859;p7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5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1" name="Google Shape;5861;p7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62" name="Google Shape;5862;p7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63" name="Google Shape;5863;p7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64" name="Google Shape;5864;p7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65" name="Google Shape;5865;p7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66" name="Google Shape;5866;p7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67" name="Google Shape;5867;p7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68" name="Google Shape;5868;p7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69" name="Google Shape;5869;p7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70" name="Google Shape;5870;p7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71" name="Google Shape;5871;p7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72" name="Google Shape;5872;p77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58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4" name="Google Shape;5874;p7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75" name="Google Shape;5875;p7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76" name="Google Shape;5876;p7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77" name="Google Shape;5877;p7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78" name="Google Shape;5878;p7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79" name="Google Shape;5879;p7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80" name="Google Shape;5880;p7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81" name="Google Shape;5881;p7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82" name="Google Shape;5882;p7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83" name="Google Shape;5883;p7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84" name="Google Shape;5884;p7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85" name="Google Shape;5885;p77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3" name="Google Shape;613;p11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4" name="Google Shape;614;p11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5" name="Google Shape;615;p11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6" name="Google Shape;616;p11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7" name="Google Shape;617;p11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8" name="Google Shape;618;p11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9" name="Google Shape;619;p11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0" name="Google Shape;620;p11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1" name="Google Shape;621;p11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2">
    <p:spTree>
      <p:nvGrpSpPr>
        <p:cNvPr id="1" name="Shape 5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87" name="Google Shape;5887;p12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88" name="Google Shape;5888;p12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89" name="Google Shape;5889;p12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90" name="Google Shape;5890;p12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91" name="Google Shape;5891;p12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92" name="Google Shape;5892;p12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93" name="Google Shape;5893;p12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94" name="Google Shape;5894;p12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95" name="Google Shape;5895;p12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96" name="Google Shape;5896;p12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97" name="Google Shape;5897;p12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98" name="Google Shape;5898;p124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2">
    <p:spTree>
      <p:nvGrpSpPr>
        <p:cNvPr id="1" name="Shape 5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00" name="Google Shape;5900;p7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01" name="Google Shape;5901;p7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02" name="Google Shape;5902;p7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03" name="Google Shape;5903;p7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04" name="Google Shape;5904;p7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05" name="Google Shape;5905;p7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906" name="Google Shape;5906;p7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07" name="Google Shape;5907;p7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08" name="Google Shape;5908;p7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09" name="Google Shape;5909;p7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10" name="Google Shape;5910;p7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911" name="Google Shape;5911;p78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5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13" name="Google Shape;5913;p12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14" name="Google Shape;5914;p12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15" name="Google Shape;5915;p12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16" name="Google Shape;5916;p12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17" name="Google Shape;5917;p12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18" name="Google Shape;5918;p12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19" name="Google Shape;5919;p124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20" name="Google Shape;5920;p12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21" name="Google Shape;5921;p12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22" name="Google Shape;5922;p12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5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4" name="Google Shape;5924;p7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25" name="Google Shape;5925;p7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926" name="Google Shape;5926;p7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27" name="Google Shape;5927;p7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28" name="Google Shape;5928;p7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29" name="Google Shape;5929;p7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30" name="Google Shape;5930;p7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31" name="Google Shape;5931;p78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32" name="Google Shape;5932;p78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33" name="Google Shape;5933;p7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34" name="Google Shape;5934;p7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5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36" name="Google Shape;5936;p12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37" name="Google Shape;5937;p12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38" name="Google Shape;5938;p12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39" name="Google Shape;5939;p12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40" name="Google Shape;5940;p12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41" name="Google Shape;5941;p12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42" name="Google Shape;5942;p124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943" name="Google Shape;5943;p124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44" name="Google Shape;5944;p124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945" name="Google Shape;5945;p124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46" name="Google Shape;5946;p12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47" name="Google Shape;5947;p12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48" name="Google Shape;5948;p12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5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50" name="Google Shape;5950;p7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51" name="Google Shape;5951;p7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52" name="Google Shape;5952;p7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53" name="Google Shape;5953;p7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54" name="Google Shape;5954;p7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55" name="Google Shape;5955;p7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56" name="Google Shape;5956;p7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57" name="Google Shape;5957;p7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58" name="Google Shape;5958;p7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59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60" name="Google Shape;5960;p124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961" name="Google Shape;5961;p124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62" name="Google Shape;5962;p124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963" name="Google Shape;5963;p124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64" name="Google Shape;5964;p124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65" name="Google Shape;5965;p124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966" name="Google Shape;5966;p12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967" name="Google Shape;5967;p124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59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9" name="Google Shape;5969;p12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70" name="Google Shape;5970;p12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71" name="Google Shape;5971;p12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972" name="Google Shape;5972;p12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73" name="Google Shape;5973;p12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74" name="Google Shape;5974;p12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75" name="Google Shape;5975;p12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76" name="Google Shape;5976;p12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5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8" name="Google Shape;5978;p78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79" name="Google Shape;5979;p78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80" name="Google Shape;5980;p78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981" name="Google Shape;5981;p7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982" name="Google Shape;5982;p78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983" name="Google Shape;5983;p7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84" name="Google Shape;5984;p78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85" name="Google Shape;5985;p7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5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87" name="Google Shape;5987;p78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988" name="Google Shape;5988;p78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89" name="Google Shape;5989;p78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90" name="Google Shape;5990;p78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91" name="Google Shape;5991;p7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992" name="Google Shape;5992;p78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3" name="Google Shape;5993;p78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p120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4" name="Google Shape;624;p120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5" name="Google Shape;625;p120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26" name="Google Shape;626;p12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27" name="Google Shape;627;p120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28" name="Google Shape;628;p12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9" name="Google Shape;629;p12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30" name="Google Shape;630;p12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59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95" name="Google Shape;5995;p7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96" name="Google Shape;5996;p7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7" name="Google Shape;5997;p7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98" name="Google Shape;5998;p7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99" name="Google Shape;5999;p7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00" name="Google Shape;6000;p7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001" name="Google Shape;6001;p7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02" name="Google Shape;6002;p7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03" name="Google Shape;6003;p7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04" name="Google Shape;6004;p7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05" name="Google Shape;6005;p7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006" name="Google Shape;6006;p7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2">
    <p:spTree>
      <p:nvGrpSpPr>
        <p:cNvPr id="1" name="Shape 6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8" name="Google Shape;6008;p7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09" name="Google Shape;6009;p7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10" name="Google Shape;6010;p7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11" name="Google Shape;6011;p7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12" name="Google Shape;6012;p7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13" name="Google Shape;6013;p7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014" name="Google Shape;6014;p7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15" name="Google Shape;6015;p7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16" name="Google Shape;6016;p7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17" name="Google Shape;6017;p7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18" name="Google Shape;6018;p7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019" name="Google Shape;6019;p7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60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21" name="Google Shape;6021;p7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22" name="Google Shape;6022;p7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23" name="Google Shape;6023;p7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24" name="Google Shape;6024;p7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25" name="Google Shape;6025;p7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26" name="Google Shape;6026;p7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27" name="Google Shape;6027;p7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28" name="Google Shape;6028;p7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29" name="Google Shape;6029;p7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30" name="Google Shape;6030;p7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6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2" name="Google Shape;6032;p7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33" name="Google Shape;6033;p7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034" name="Google Shape;6034;p7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35" name="Google Shape;6035;p7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36" name="Google Shape;6036;p7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37" name="Google Shape;6037;p7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38" name="Google Shape;6038;p7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39" name="Google Shape;6039;p7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40" name="Google Shape;6040;p7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41" name="Google Shape;6041;p7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42" name="Google Shape;6042;p7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6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44" name="Google Shape;6044;p12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45" name="Google Shape;6045;p12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46" name="Google Shape;6046;p12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47" name="Google Shape;6047;p12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48" name="Google Shape;6048;p12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49" name="Google Shape;6049;p12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0" name="Google Shape;6050;p124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51" name="Google Shape;6051;p124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52" name="Google Shape;6052;p124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53" name="Google Shape;6053;p124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54" name="Google Shape;6054;p12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55" name="Google Shape;6055;p12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56" name="Google Shape;6056;p12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6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58" name="Google Shape;6058;p79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059" name="Google Shape;6059;p79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060" name="Google Shape;6060;p79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061" name="Google Shape;6061;p79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62" name="Google Shape;6062;p79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063" name="Google Shape;6063;p79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064" name="Google Shape;6064;p7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60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66" name="Google Shape;6066;p7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067" name="Google Shape;6067;p7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68" name="Google Shape;6068;p7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069" name="Google Shape;6069;p7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70" name="Google Shape;6070;p7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71" name="Google Shape;6071;p7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072" name="Google Shape;6072;p7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073" name="Google Shape;6073;p7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60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75" name="Google Shape;6075;p7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76" name="Google Shape;6076;p7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77" name="Google Shape;6077;p7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078" name="Google Shape;6078;p7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79" name="Google Shape;6079;p7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80" name="Google Shape;6080;p7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81" name="Google Shape;6081;p7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82" name="Google Shape;6082;p7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6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84" name="Google Shape;6084;p7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85" name="Google Shape;6085;p7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86" name="Google Shape;6086;p7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87" name="Google Shape;6087;p7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88" name="Google Shape;6088;p7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89" name="Google Shape;6089;p7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90" name="Google Shape;6090;p7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91" name="Google Shape;6091;p7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92" name="Google Shape;6092;p7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 2">
    <p:bg>
      <p:bgPr>
        <a:solidFill>
          <a:schemeClr val="lt2"/>
        </a:solidFill>
        <a:effectLst/>
      </p:bgPr>
    </p:bg>
    <p:spTree>
      <p:nvGrpSpPr>
        <p:cNvPr id="1" name="Shape 60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94" name="Google Shape;6094;p79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095" name="Google Shape;6095;p7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96" name="Google Shape;6096;p7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97" name="Google Shape;6097;p7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098" name="Google Shape;6098;p7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099" name="Google Shape;6099;p79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00" name="Google Shape;6100;p79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5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2" name="Google Shape;72;p5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73;p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74;p5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5" name="Google Shape;75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6" name="Google Shape;76;p5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5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2" name="Google Shape;632;p120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33" name="Google Shape;633;p120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4" name="Google Shape;634;p120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5" name="Google Shape;635;p120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36" name="Google Shape;636;p12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37" name="Google Shape;637;p120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" name="Google Shape;638;p120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 2">
    <p:spTree>
      <p:nvGrpSpPr>
        <p:cNvPr id="1" name="Shape 6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02" name="Google Shape;6102;p79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103" name="Google Shape;6103;p79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104" name="Google Shape;6104;p79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105" name="Google Shape;6105;p79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06" name="Google Shape;6106;p79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107" name="Google Shape;6107;p79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108" name="Google Shape;6108;p7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 2">
    <p:spTree>
      <p:nvGrpSpPr>
        <p:cNvPr id="1" name="Shape 6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10" name="Google Shape;6110;p80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11" name="Google Shape;6111;p80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12" name="Google Shape;6112;p80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113" name="Google Shape;6113;p8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114" name="Google Shape;6114;p80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115" name="Google Shape;6115;p8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16" name="Google Shape;6116;p8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117" name="Google Shape;6117;p8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 2">
    <p:spTree>
      <p:nvGrpSpPr>
        <p:cNvPr id="1" name="Shape 6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19" name="Google Shape;6119;p8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20" name="Google Shape;6120;p8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21" name="Google Shape;6121;p8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22" name="Google Shape;6122;p8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23" name="Google Shape;6123;p8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24" name="Google Shape;6124;p8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25" name="Google Shape;6125;p80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26" name="Google Shape;6126;p8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27" name="Google Shape;6127;p8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28" name="Google Shape;6128;p8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 2">
    <p:spTree>
      <p:nvGrpSpPr>
        <p:cNvPr id="1" name="Shape 6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0" name="Google Shape;6130;p8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31" name="Google Shape;6131;p8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132" name="Google Shape;6132;p8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33" name="Google Shape;6133;p8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34" name="Google Shape;6134;p8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35" name="Google Shape;6135;p8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36" name="Google Shape;6136;p8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37" name="Google Shape;6137;p8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38" name="Google Shape;6138;p8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39" name="Google Shape;6139;p8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40" name="Google Shape;6140;p8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 2">
    <p:spTree>
      <p:nvGrpSpPr>
        <p:cNvPr id="1" name="Shape 6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2" name="Google Shape;6142;p8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43" name="Google Shape;6143;p8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44" name="Google Shape;6144;p8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45" name="Google Shape;6145;p8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46" name="Google Shape;6146;p8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47" name="Google Shape;6147;p8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48" name="Google Shape;6148;p80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149" name="Google Shape;6149;p80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50" name="Google Shape;6150;p80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151" name="Google Shape;6151;p80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52" name="Google Shape;6152;p8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53" name="Google Shape;6153;p8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54" name="Google Shape;6154;p8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3">
    <p:spTree>
      <p:nvGrpSpPr>
        <p:cNvPr id="1" name="Shape 6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6" name="Google Shape;6156;p80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57" name="Google Shape;6157;p80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58" name="Google Shape;6158;p80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59" name="Google Shape;6159;p8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60" name="Google Shape;6160;p8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61" name="Google Shape;6161;p8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162" name="Google Shape;6162;p8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63" name="Google Shape;6163;p8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64" name="Google Shape;6164;p8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65" name="Google Shape;6165;p8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66" name="Google Shape;6166;p8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67" name="Google Shape;6167;p80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4">
    <p:spTree>
      <p:nvGrpSpPr>
        <p:cNvPr id="1" name="Shape 6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69" name="Google Shape;6169;p80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70" name="Google Shape;6170;p80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71" name="Google Shape;6171;p80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72" name="Google Shape;6172;p8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73" name="Google Shape;6173;p8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74" name="Google Shape;6174;p8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175" name="Google Shape;6175;p8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76" name="Google Shape;6176;p8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77" name="Google Shape;6177;p8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78" name="Google Shape;6178;p8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79" name="Google Shape;6179;p8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80" name="Google Shape;6180;p80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5">
    <p:spTree>
      <p:nvGrpSpPr>
        <p:cNvPr id="1" name="Shape 6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82" name="Google Shape;6182;p8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83" name="Google Shape;6183;p8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84" name="Google Shape;6184;p8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85" name="Google Shape;6185;p8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86" name="Google Shape;6186;p8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87" name="Google Shape;6187;p8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188" name="Google Shape;6188;p8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89" name="Google Shape;6189;p8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90" name="Google Shape;6190;p8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91" name="Google Shape;6191;p8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92" name="Google Shape;6192;p8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93" name="Google Shape;6193;p80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 2">
    <p:spTree>
      <p:nvGrpSpPr>
        <p:cNvPr id="1" name="Shape 6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95" name="Google Shape;6195;p8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196" name="Google Shape;6196;p8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97" name="Google Shape;6197;p8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198" name="Google Shape;6198;p8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99" name="Google Shape;6199;p8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00" name="Google Shape;6200;p8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201" name="Google Shape;6201;p8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202" name="Google Shape;6202;p8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 2">
    <p:spTree>
      <p:nvGrpSpPr>
        <p:cNvPr id="1" name="Shape 6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04" name="Google Shape;6204;p12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05" name="Google Shape;6205;p12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06" name="Google Shape;6206;p12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07" name="Google Shape;6207;p12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08" name="Google Shape;6208;p12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09" name="Google Shape;6209;p12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10" name="Google Shape;6210;p12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11" name="Google Shape;6211;p12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12" name="Google Shape;6212;p12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0" name="Google Shape;640;p120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41" name="Google Shape;641;p120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42" name="Google Shape;642;p120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43" name="Google Shape;643;p120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4" name="Google Shape;644;p120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5" name="Google Shape;645;p120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46" name="Google Shape;646;p12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 2">
    <p:spTree>
      <p:nvGrpSpPr>
        <p:cNvPr id="1" name="Shape 6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14" name="Google Shape;6214;p80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215" name="Google Shape;6215;p80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16" name="Google Shape;6216;p80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17" name="Google Shape;6217;p80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18" name="Google Shape;6218;p80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19" name="Google Shape;6219;p80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220" name="Google Shape;6220;p8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221" name="Google Shape;6221;p8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 3">
    <p:spTree>
      <p:nvGrpSpPr>
        <p:cNvPr id="1" name="Shape 6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3" name="Google Shape;6223;p12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24" name="Google Shape;6224;p12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25" name="Google Shape;6225;p12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226" name="Google Shape;6226;p12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27" name="Google Shape;6227;p12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28" name="Google Shape;6228;p12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29" name="Google Shape;6229;p12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30" name="Google Shape;6230;p12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3">
    <p:spTree>
      <p:nvGrpSpPr>
        <p:cNvPr id="1" name="Shape 6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2" name="Google Shape;6232;p8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33" name="Google Shape;6233;p8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34" name="Google Shape;6234;p8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35" name="Google Shape;6235;p8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36" name="Google Shape;6236;p8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37" name="Google Shape;6237;p8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238" name="Google Shape;6238;p8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39" name="Google Shape;6239;p8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40" name="Google Shape;6240;p8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41" name="Google Shape;6241;p8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42" name="Google Shape;6242;p8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243" name="Google Shape;6243;p8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4">
    <p:spTree>
      <p:nvGrpSpPr>
        <p:cNvPr id="1" name="Shape 6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5" name="Google Shape;6245;p8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46" name="Google Shape;6246;p8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47" name="Google Shape;6247;p8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48" name="Google Shape;6248;p8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49" name="Google Shape;6249;p8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50" name="Google Shape;6250;p8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251" name="Google Shape;6251;p8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52" name="Google Shape;6252;p8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53" name="Google Shape;6253;p8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54" name="Google Shape;6254;p8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55" name="Google Shape;6255;p8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256" name="Google Shape;6256;p8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5">
    <p:spTree>
      <p:nvGrpSpPr>
        <p:cNvPr id="1" name="Shape 6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8" name="Google Shape;6258;p8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59" name="Google Shape;6259;p8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60" name="Google Shape;6260;p8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61" name="Google Shape;6261;p8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62" name="Google Shape;6262;p8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63" name="Google Shape;6263;p8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264" name="Google Shape;6264;p8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65" name="Google Shape;6265;p8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66" name="Google Shape;6266;p8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67" name="Google Shape;6267;p8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68" name="Google Shape;6268;p8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269" name="Google Shape;6269;p8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 2">
    <p:spTree>
      <p:nvGrpSpPr>
        <p:cNvPr id="1" name="Shape 6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1" name="Google Shape;6271;p81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72" name="Google Shape;6272;p81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73" name="Google Shape;6273;p81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274" name="Google Shape;6274;p8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275" name="Google Shape;6275;p81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276" name="Google Shape;6276;p8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77" name="Google Shape;6277;p81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278" name="Google Shape;6278;p8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 2">
    <p:bg>
      <p:bgPr>
        <a:solidFill>
          <a:schemeClr val="lt2"/>
        </a:solidFill>
        <a:effectLst/>
      </p:bgPr>
    </p:bg>
    <p:spTree>
      <p:nvGrpSpPr>
        <p:cNvPr id="1" name="Shape 6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80" name="Google Shape;6280;p125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281" name="Google Shape;6281;p125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82" name="Google Shape;6282;p12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83" name="Google Shape;6283;p125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284" name="Google Shape;6284;p12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285" name="Google Shape;6285;p125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86" name="Google Shape;6286;p125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 2">
    <p:spTree>
      <p:nvGrpSpPr>
        <p:cNvPr id="1" name="Shape 6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8" name="Google Shape;6288;p125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289" name="Google Shape;6289;p125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290" name="Google Shape;6290;p125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291" name="Google Shape;6291;p125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92" name="Google Shape;6292;p125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93" name="Google Shape;6293;p125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294" name="Google Shape;6294;p12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3">
    <p:spTree>
      <p:nvGrpSpPr>
        <p:cNvPr id="1" name="Shape 6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96" name="Google Shape;6296;p8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97" name="Google Shape;6297;p8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98" name="Google Shape;6298;p8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99" name="Google Shape;6299;p8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00" name="Google Shape;6300;p8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01" name="Google Shape;6301;p8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02" name="Google Shape;6302;p8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03" name="Google Shape;6303;p8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04" name="Google Shape;6304;p8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05" name="Google Shape;6305;p8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06" name="Google Shape;6306;p8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07" name="Google Shape;6307;p8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3">
    <p:spTree>
      <p:nvGrpSpPr>
        <p:cNvPr id="1" name="Shape 6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9" name="Google Shape;6309;p8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0" name="Google Shape;6310;p8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11" name="Google Shape;6311;p8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12" name="Google Shape;6312;p8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13" name="Google Shape;6313;p8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14" name="Google Shape;6314;p8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15" name="Google Shape;6315;p8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16" name="Google Shape;6316;p8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17" name="Google Shape;6317;p8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18" name="Google Shape;6318;p8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19" name="Google Shape;6319;p8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20" name="Google Shape;6320;p8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8" name="Google Shape;648;p120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9" name="Google Shape;649;p12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0" name="Google Shape;650;p12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1" name="Google Shape;651;p12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2" name="Google Shape;652;p12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3" name="Google Shape;653;p12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54" name="Google Shape;654;p12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5" name="Google Shape;655;p12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6" name="Google Shape;656;p12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7" name="Google Shape;657;p12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8" name="Google Shape;658;p12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59" name="Google Shape;659;p120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4">
    <p:spTree>
      <p:nvGrpSpPr>
        <p:cNvPr id="1" name="Shape 6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22" name="Google Shape;6322;p8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23" name="Google Shape;6323;p8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4" name="Google Shape;6324;p8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25" name="Google Shape;6325;p8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26" name="Google Shape;6326;p8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27" name="Google Shape;6327;p8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28" name="Google Shape;6328;p8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29" name="Google Shape;6329;p8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30" name="Google Shape;6330;p8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31" name="Google Shape;6331;p8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32" name="Google Shape;6332;p8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33" name="Google Shape;6333;p81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4">
    <p:spTree>
      <p:nvGrpSpPr>
        <p:cNvPr id="1" name="Shape 6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35" name="Google Shape;6335;p8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36" name="Google Shape;6336;p8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37" name="Google Shape;6337;p8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38" name="Google Shape;6338;p8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39" name="Google Shape;6339;p8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40" name="Google Shape;6340;p8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41" name="Google Shape;6341;p8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42" name="Google Shape;6342;p8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43" name="Google Shape;6343;p8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44" name="Google Shape;6344;p8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45" name="Google Shape;6345;p8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46" name="Google Shape;6346;p82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5">
    <p:spTree>
      <p:nvGrpSpPr>
        <p:cNvPr id="1" name="Shape 6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" name="Google Shape;6348;p8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49" name="Google Shape;6349;p8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50" name="Google Shape;6350;p8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51" name="Google Shape;6351;p8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52" name="Google Shape;6352;p8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53" name="Google Shape;6353;p8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54" name="Google Shape;6354;p8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55" name="Google Shape;6355;p8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56" name="Google Shape;6356;p8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57" name="Google Shape;6357;p8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58" name="Google Shape;6358;p8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59" name="Google Shape;6359;p8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5">
    <p:spTree>
      <p:nvGrpSpPr>
        <p:cNvPr id="1" name="Shape 6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61" name="Google Shape;6361;p82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62" name="Google Shape;6362;p82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63" name="Google Shape;6363;p82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64" name="Google Shape;6364;p8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65" name="Google Shape;6365;p8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66" name="Google Shape;6366;p8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67" name="Google Shape;6367;p8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68" name="Google Shape;6368;p8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69" name="Google Shape;6369;p8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70" name="Google Shape;6370;p8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71" name="Google Shape;6371;p8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72" name="Google Shape;6372;p82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 2">
    <p:spTree>
      <p:nvGrpSpPr>
        <p:cNvPr id="1" name="Shape 6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74" name="Google Shape;6374;p8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75" name="Google Shape;6375;p8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76" name="Google Shape;6376;p8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77" name="Google Shape;6377;p8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78" name="Google Shape;6378;p8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79" name="Google Shape;6379;p8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0" name="Google Shape;6380;p8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81" name="Google Shape;6381;p8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82" name="Google Shape;6382;p8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83" name="Google Shape;6383;p8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 2">
    <p:spTree>
      <p:nvGrpSpPr>
        <p:cNvPr id="1" name="Shape 6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5" name="Google Shape;6385;p8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6" name="Google Shape;6386;p8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387" name="Google Shape;6387;p8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88" name="Google Shape;6388;p8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89" name="Google Shape;6389;p8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90" name="Google Shape;6390;p8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91" name="Google Shape;6391;p8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92" name="Google Shape;6392;p82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93" name="Google Shape;6393;p82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94" name="Google Shape;6394;p8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95" name="Google Shape;6395;p8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 2">
    <p:spTree>
      <p:nvGrpSpPr>
        <p:cNvPr id="1" name="Shape 6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97" name="Google Shape;6397;p8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98" name="Google Shape;6398;p8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99" name="Google Shape;6399;p8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00" name="Google Shape;6400;p8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01" name="Google Shape;6401;p8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02" name="Google Shape;6402;p8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03" name="Google Shape;6403;p82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404" name="Google Shape;6404;p82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05" name="Google Shape;6405;p82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406" name="Google Shape;6406;p82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07" name="Google Shape;6407;p8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08" name="Google Shape;6408;p8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09" name="Google Shape;6409;p8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 2">
    <p:spTree>
      <p:nvGrpSpPr>
        <p:cNvPr id="1" name="Shape 6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11" name="Google Shape;6411;p8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12" name="Google Shape;6412;p8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13" name="Google Shape;6413;p8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14" name="Google Shape;6414;p8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15" name="Google Shape;6415;p8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16" name="Google Shape;6416;p8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17" name="Google Shape;6417;p8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18" name="Google Shape;6418;p8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19" name="Google Shape;6419;p8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 2">
    <p:spTree>
      <p:nvGrpSpPr>
        <p:cNvPr id="1" name="Shape 6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21" name="Google Shape;6421;p82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422" name="Google Shape;6422;p82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23" name="Google Shape;6423;p82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24" name="Google Shape;6424;p82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25" name="Google Shape;6425;p82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26" name="Google Shape;6426;p82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427" name="Google Shape;6427;p8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428" name="Google Shape;6428;p82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 2">
    <p:spTree>
      <p:nvGrpSpPr>
        <p:cNvPr id="1" name="Shape 6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0" name="Google Shape;6430;p8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31" name="Google Shape;6431;p8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32" name="Google Shape;6432;p8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433" name="Google Shape;6433;p8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34" name="Google Shape;6434;p8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35" name="Google Shape;6435;p8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36" name="Google Shape;6436;p8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37" name="Google Shape;6437;p8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1" name="Google Shape;661;p120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2" name="Google Shape;662;p120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3" name="Google Shape;663;p120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4" name="Google Shape;664;p12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5" name="Google Shape;665;p12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6" name="Google Shape;666;p12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67" name="Google Shape;667;p12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8" name="Google Shape;668;p12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9" name="Google Shape;669;p12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0" name="Google Shape;670;p12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1" name="Google Shape;671;p12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72" name="Google Shape;672;p120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 2">
    <p:spTree>
      <p:nvGrpSpPr>
        <p:cNvPr id="1" name="Shape 6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9" name="Google Shape;6439;p82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40" name="Google Shape;6440;p82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41" name="Google Shape;6441;p82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442" name="Google Shape;6442;p82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443" name="Google Shape;6443;p82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444" name="Google Shape;6444;p8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45" name="Google Shape;6445;p82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446" name="Google Shape;6446;p8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 2">
    <p:bg>
      <p:bgPr>
        <a:solidFill>
          <a:schemeClr val="lt2"/>
        </a:solidFill>
        <a:effectLst/>
      </p:bgPr>
    </p:bg>
    <p:spTree>
      <p:nvGrpSpPr>
        <p:cNvPr id="1" name="Shape 6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48" name="Google Shape;6448;p83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49" name="Google Shape;6449;p83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50" name="Google Shape;6450;p83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51" name="Google Shape;6451;p83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452" name="Google Shape;6452;p8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453" name="Google Shape;6453;p83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54" name="Google Shape;6454;p83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3">
    <p:spTree>
      <p:nvGrpSpPr>
        <p:cNvPr id="1" name="Shape 6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6" name="Google Shape;6456;p8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57" name="Google Shape;6457;p8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58" name="Google Shape;6458;p8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59" name="Google Shape;6459;p8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60" name="Google Shape;6460;p8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61" name="Google Shape;6461;p8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462" name="Google Shape;6462;p8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63" name="Google Shape;6463;p8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64" name="Google Shape;6464;p8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65" name="Google Shape;6465;p8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66" name="Google Shape;6466;p8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67" name="Google Shape;6467;p83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4">
    <p:spTree>
      <p:nvGrpSpPr>
        <p:cNvPr id="1" name="Shape 6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9" name="Google Shape;6469;p83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0" name="Google Shape;6470;p83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71" name="Google Shape;6471;p83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72" name="Google Shape;6472;p8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73" name="Google Shape;6473;p8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74" name="Google Shape;6474;p8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475" name="Google Shape;6475;p8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76" name="Google Shape;6476;p8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77" name="Google Shape;6477;p8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78" name="Google Shape;6478;p8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79" name="Google Shape;6479;p8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80" name="Google Shape;6480;p83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5">
    <p:spTree>
      <p:nvGrpSpPr>
        <p:cNvPr id="1" name="Shape 6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82" name="Google Shape;6482;p83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83" name="Google Shape;6483;p83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84" name="Google Shape;6484;p83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85" name="Google Shape;6485;p8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86" name="Google Shape;6486;p8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87" name="Google Shape;6487;p8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488" name="Google Shape;6488;p8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89" name="Google Shape;6489;p8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90" name="Google Shape;6490;p8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91" name="Google Shape;6491;p8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92" name="Google Shape;6492;p8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93" name="Google Shape;6493;p83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 2">
    <p:spTree>
      <p:nvGrpSpPr>
        <p:cNvPr id="1" name="Shape 6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95" name="Google Shape;6495;p8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96" name="Google Shape;6496;p8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97" name="Google Shape;6497;p8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98" name="Google Shape;6498;p8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99" name="Google Shape;6499;p8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00" name="Google Shape;6500;p8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01" name="Google Shape;6501;p83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02" name="Google Shape;6502;p8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03" name="Google Shape;6503;p8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04" name="Google Shape;6504;p8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 2">
    <p:spTree>
      <p:nvGrpSpPr>
        <p:cNvPr id="1" name="Shape 6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06" name="Google Shape;6506;p8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07" name="Google Shape;6507;p8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508" name="Google Shape;6508;p8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09" name="Google Shape;6509;p8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10" name="Google Shape;6510;p8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11" name="Google Shape;6511;p8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12" name="Google Shape;6512;p8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13" name="Google Shape;6513;p83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14" name="Google Shape;6514;p83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15" name="Google Shape;6515;p8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16" name="Google Shape;6516;p8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 2">
    <p:spTree>
      <p:nvGrpSpPr>
        <p:cNvPr id="1" name="Shape 6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18" name="Google Shape;6518;p8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19" name="Google Shape;6519;p8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20" name="Google Shape;6520;p8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21" name="Google Shape;6521;p8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22" name="Google Shape;6522;p8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23" name="Google Shape;6523;p8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24" name="Google Shape;6524;p83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525" name="Google Shape;6525;p83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26" name="Google Shape;6526;p83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527" name="Google Shape;6527;p83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28" name="Google Shape;6528;p8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29" name="Google Shape;6529;p8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30" name="Google Shape;6530;p8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 2">
    <p:spTree>
      <p:nvGrpSpPr>
        <p:cNvPr id="1" name="Shape 65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2" name="Google Shape;6532;p83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533" name="Google Shape;6533;p83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534" name="Google Shape;6534;p83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535" name="Google Shape;6535;p83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36" name="Google Shape;6536;p83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537" name="Google Shape;6537;p83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538" name="Google Shape;6538;p8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 2">
    <p:spTree>
      <p:nvGrpSpPr>
        <p:cNvPr id="1" name="Shape 65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40" name="Google Shape;6540;p83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541" name="Google Shape;6541;p83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42" name="Google Shape;6542;p83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543" name="Google Shape;6543;p83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44" name="Google Shape;6544;p83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45" name="Google Shape;6545;p83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546" name="Google Shape;6546;p8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547" name="Google Shape;6547;p8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4" name="Google Shape;674;p12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5" name="Google Shape;675;p12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" name="Google Shape;676;p12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7" name="Google Shape;677;p12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" name="Google Shape;678;p12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9" name="Google Shape;679;p12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0" name="Google Shape;680;p120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1" name="Google Shape;681;p12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2" name="Google Shape;682;p12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3" name="Google Shape;683;p12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 2">
    <p:spTree>
      <p:nvGrpSpPr>
        <p:cNvPr id="1" name="Shape 6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9" name="Google Shape;6549;p8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50" name="Google Shape;6550;p8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51" name="Google Shape;6551;p8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552" name="Google Shape;6552;p8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53" name="Google Shape;6553;p8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54" name="Google Shape;6554;p8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55" name="Google Shape;6555;p8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56" name="Google Shape;6556;p8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 2">
    <p:spTree>
      <p:nvGrpSpPr>
        <p:cNvPr id="1" name="Shape 6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58" name="Google Shape;6558;p8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59" name="Google Shape;6559;p8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60" name="Google Shape;6560;p8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61" name="Google Shape;6561;p8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62" name="Google Shape;6562;p8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63" name="Google Shape;6563;p8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64" name="Google Shape;6564;p8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65" name="Google Shape;6565;p8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66" name="Google Shape;6566;p8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2">
    <p:spTree>
      <p:nvGrpSpPr>
        <p:cNvPr id="1" name="Shape 6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68" name="Google Shape;6568;p841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69" name="Google Shape;6569;p841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6570" name="Google Shape;6570;p841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6571" name="Google Shape;6571;p841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72" name="Google Shape;6572;p841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6573" name="Google Shape;6573;p8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6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75" name="Google Shape;6575;p8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76" name="Google Shape;6576;p8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77" name="Google Shape;6577;p8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78" name="Google Shape;6578;p8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79" name="Google Shape;6579;p8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80" name="Google Shape;6580;p8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581" name="Google Shape;6581;p8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82" name="Google Shape;6582;p8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83" name="Google Shape;6583;p8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84" name="Google Shape;6584;p8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85" name="Google Shape;6585;p8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586" name="Google Shape;6586;p84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2">
    <p:spTree>
      <p:nvGrpSpPr>
        <p:cNvPr id="1" name="Shape 6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8" name="Google Shape;6588;p8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89" name="Google Shape;6589;p8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90" name="Google Shape;6590;p8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91" name="Google Shape;6591;p8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92" name="Google Shape;6592;p8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93" name="Google Shape;6593;p8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594" name="Google Shape;6594;p8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95" name="Google Shape;6595;p8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96" name="Google Shape;6596;p8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97" name="Google Shape;6597;p8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98" name="Google Shape;6598;p8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599" name="Google Shape;6599;p8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6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01" name="Google Shape;6601;p8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02" name="Google Shape;6602;p8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03" name="Google Shape;6603;p8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04" name="Google Shape;6604;p8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05" name="Google Shape;6605;p8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06" name="Google Shape;6606;p8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07" name="Google Shape;6607;p8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08" name="Google Shape;6608;p8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09" name="Google Shape;6609;p8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10" name="Google Shape;6610;p8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11" name="Google Shape;6611;p8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12" name="Google Shape;6612;p8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2">
    <p:spTree>
      <p:nvGrpSpPr>
        <p:cNvPr id="1" name="Shape 6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14" name="Google Shape;6614;p84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15" name="Google Shape;6615;p8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16" name="Google Shape;6616;p8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17" name="Google Shape;6617;p8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18" name="Google Shape;6618;p8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19" name="Google Shape;6619;p8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20" name="Google Shape;6620;p8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21" name="Google Shape;6621;p8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22" name="Google Shape;6622;p8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23" name="Google Shape;6623;p8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24" name="Google Shape;6624;p8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25" name="Google Shape;6625;p84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3">
    <p:spTree>
      <p:nvGrpSpPr>
        <p:cNvPr id="1" name="Shape 66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7" name="Google Shape;6627;p84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28" name="Google Shape;6628;p84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29" name="Google Shape;6629;p84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30" name="Google Shape;6630;p8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31" name="Google Shape;6631;p8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32" name="Google Shape;6632;p8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33" name="Google Shape;6633;p8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34" name="Google Shape;6634;p8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35" name="Google Shape;6635;p8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36" name="Google Shape;6636;p8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37" name="Google Shape;6637;p8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38" name="Google Shape;6638;p84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2">
    <p:spTree>
      <p:nvGrpSpPr>
        <p:cNvPr id="1" name="Shape 6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0" name="Google Shape;6640;p8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41" name="Google Shape;6641;p8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42" name="Google Shape;6642;p8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43" name="Google Shape;6643;p8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44" name="Google Shape;6644;p8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45" name="Google Shape;6645;p8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46" name="Google Shape;6646;p8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47" name="Google Shape;6647;p8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48" name="Google Shape;6648;p8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49" name="Google Shape;6649;p8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50" name="Google Shape;6650;p8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51" name="Google Shape;6651;p84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6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3" name="Google Shape;6653;p848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54" name="Google Shape;6654;p848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655" name="Google Shape;6655;p8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6656" name="Google Shape;6656;p848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657" name="Google Shape;6657;p84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6658" name="Google Shape;6658;p848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59" name="Google Shape;6659;p848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60" name="Google Shape;6660;p848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1" name="Google Shape;6661;p8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6662" name="Google Shape;6662;p84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63" name="Google Shape;6663;p8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Google Shape;685;p1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6" name="Google Shape;686;p1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87" name="Google Shape;687;p1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8" name="Google Shape;688;p1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9" name="Google Shape;689;p1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0" name="Google Shape;690;p1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1" name="Google Shape;691;p1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92" name="Google Shape;692;p12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3" name="Google Shape;693;p12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4" name="Google Shape;694;p1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5" name="Google Shape;695;p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2">
    <p:spTree>
      <p:nvGrpSpPr>
        <p:cNvPr id="1" name="Shape 66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65" name="Google Shape;6665;p84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66" name="Google Shape;6666;p84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67" name="Google Shape;6667;p84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8" name="Google Shape;6668;p8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69" name="Google Shape;6669;p8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70" name="Google Shape;6670;p8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71" name="Google Shape;6671;p8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72" name="Google Shape;6672;p8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73" name="Google Shape;6673;p8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74" name="Google Shape;6674;p8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75" name="Google Shape;6675;p8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76" name="Google Shape;6676;p84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3">
    <p:spTree>
      <p:nvGrpSpPr>
        <p:cNvPr id="1" name="Shape 6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8" name="Google Shape;6678;p8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79" name="Google Shape;6679;p8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80" name="Google Shape;6680;p8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81" name="Google Shape;6681;p8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82" name="Google Shape;6682;p8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83" name="Google Shape;6683;p8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84" name="Google Shape;6684;p8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85" name="Google Shape;6685;p8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86" name="Google Shape;6686;p8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87" name="Google Shape;6687;p8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88" name="Google Shape;6688;p8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89" name="Google Shape;6689;p8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6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1" name="Google Shape;6691;p85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92" name="Google Shape;6692;p85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93" name="Google Shape;6693;p85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694" name="Google Shape;6694;p8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695" name="Google Shape;6695;p85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696" name="Google Shape;6696;p8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97" name="Google Shape;6697;p85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698" name="Google Shape;6698;p8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6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00" name="Google Shape;6700;p85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701" name="Google Shape;6701;p85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02" name="Google Shape;6702;p8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03" name="Google Shape;6703;p85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04" name="Google Shape;6704;p8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705" name="Google Shape;6705;p85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06" name="Google Shape;6706;p85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6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08" name="Google Shape;6708;p85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709" name="Google Shape;6709;p85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710" name="Google Shape;6710;p85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711" name="Google Shape;6711;p85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12" name="Google Shape;6712;p85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13" name="Google Shape;6713;p85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714" name="Google Shape;6714;p8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6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6" name="Google Shape;6716;p85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17" name="Google Shape;6717;p85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18" name="Google Shape;6718;p85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19" name="Google Shape;6719;p8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20" name="Google Shape;6720;p8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21" name="Google Shape;6721;p8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722" name="Google Shape;6722;p8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23" name="Google Shape;6723;p8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24" name="Google Shape;6724;p8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25" name="Google Shape;6725;p8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26" name="Google Shape;6726;p8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727" name="Google Shape;6727;p85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2">
    <p:spTree>
      <p:nvGrpSpPr>
        <p:cNvPr id="1" name="Shape 6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9" name="Google Shape;6729;p8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30" name="Google Shape;6730;p8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31" name="Google Shape;6731;p8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32" name="Google Shape;6732;p8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33" name="Google Shape;6733;p8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34" name="Google Shape;6734;p8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735" name="Google Shape;6735;p8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36" name="Google Shape;6736;p8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37" name="Google Shape;6737;p8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38" name="Google Shape;6738;p8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39" name="Google Shape;6739;p8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740" name="Google Shape;6740;p8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6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42" name="Google Shape;6742;p8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43" name="Google Shape;6743;p8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44" name="Google Shape;6744;p8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45" name="Google Shape;6745;p8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46" name="Google Shape;6746;p8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47" name="Google Shape;6747;p8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48" name="Google Shape;6748;p8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49" name="Google Shape;6749;p8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50" name="Google Shape;6750;p8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51" name="Google Shape;6751;p8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6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3" name="Google Shape;6753;p8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54" name="Google Shape;6754;p8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755" name="Google Shape;6755;p8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56" name="Google Shape;6756;p8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57" name="Google Shape;6757;p8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58" name="Google Shape;6758;p8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59" name="Google Shape;6759;p8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60" name="Google Shape;6760;p85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61" name="Google Shape;6761;p85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62" name="Google Shape;6762;p8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63" name="Google Shape;6763;p8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6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65" name="Google Shape;6765;p8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66" name="Google Shape;6766;p8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7" name="Google Shape;6767;p8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68" name="Google Shape;6768;p8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69" name="Google Shape;6769;p8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70" name="Google Shape;6770;p8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71" name="Google Shape;6771;p85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772" name="Google Shape;6772;p85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73" name="Google Shape;6773;p8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774" name="Google Shape;6774;p8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75" name="Google Shape;6775;p8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76" name="Google Shape;6776;p8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77" name="Google Shape;6777;p8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7" name="Google Shape;697;p1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8" name="Google Shape;698;p1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9" name="Google Shape;699;p1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0" name="Google Shape;700;p1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1" name="Google Shape;701;p1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2" name="Google Shape;702;p1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3" name="Google Shape;703;p12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4" name="Google Shape;704;p12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5" name="Google Shape;705;p12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6" name="Google Shape;706;p12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7" name="Google Shape;707;p1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8" name="Google Shape;708;p1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9" name="Google Shape;709;p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6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79" name="Google Shape;6779;p8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80" name="Google Shape;6780;p8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81" name="Google Shape;6781;p8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82" name="Google Shape;6782;p8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3" name="Google Shape;6783;p8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84" name="Google Shape;6784;p8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85" name="Google Shape;6785;p8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86" name="Google Shape;6786;p8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87" name="Google Shape;6787;p8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6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89" name="Google Shape;6789;p86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790" name="Google Shape;6790;p86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91" name="Google Shape;6791;p86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92" name="Google Shape;6792;p86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93" name="Google Shape;6793;p86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94" name="Google Shape;6794;p86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795" name="Google Shape;6795;p8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796" name="Google Shape;6796;p8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6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98" name="Google Shape;6798;p8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99" name="Google Shape;6799;p8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00" name="Google Shape;6800;p8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01" name="Google Shape;6801;p8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02" name="Google Shape;6802;p8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03" name="Google Shape;6803;p8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04" name="Google Shape;6804;p8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05" name="Google Shape;6805;p8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3">
    <p:spTree>
      <p:nvGrpSpPr>
        <p:cNvPr id="1" name="Shape 6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7" name="Google Shape;6807;p8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08" name="Google Shape;6808;p8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09" name="Google Shape;6809;p8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10" name="Google Shape;6810;p8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11" name="Google Shape;6811;p8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12" name="Google Shape;6812;p8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13" name="Google Shape;6813;p8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14" name="Google Shape;6814;p8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15" name="Google Shape;6815;p8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16" name="Google Shape;6816;p8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17" name="Google Shape;6817;p8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18" name="Google Shape;6818;p8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4">
    <p:spTree>
      <p:nvGrpSpPr>
        <p:cNvPr id="1" name="Shape 6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20" name="Google Shape;6820;p8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21" name="Google Shape;6821;p8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22" name="Google Shape;6822;p8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23" name="Google Shape;6823;p8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24" name="Google Shape;6824;p8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25" name="Google Shape;6825;p8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26" name="Google Shape;6826;p8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27" name="Google Shape;6827;p8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28" name="Google Shape;6828;p8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29" name="Google Shape;6829;p8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30" name="Google Shape;6830;p8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31" name="Google Shape;6831;p8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3">
    <p:spTree>
      <p:nvGrpSpPr>
        <p:cNvPr id="1" name="Shape 6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33" name="Google Shape;6833;p8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34" name="Google Shape;6834;p8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35" name="Google Shape;6835;p8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36" name="Google Shape;6836;p8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37" name="Google Shape;6837;p8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38" name="Google Shape;6838;p8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39" name="Google Shape;6839;p8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40" name="Google Shape;6840;p8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41" name="Google Shape;6841;p8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42" name="Google Shape;6842;p8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43" name="Google Shape;6843;p8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44" name="Google Shape;6844;p8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4">
    <p:spTree>
      <p:nvGrpSpPr>
        <p:cNvPr id="1" name="Shape 6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6" name="Google Shape;6846;p86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47" name="Google Shape;6847;p86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48" name="Google Shape;6848;p86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49" name="Google Shape;6849;p8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50" name="Google Shape;6850;p8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51" name="Google Shape;6851;p8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52" name="Google Shape;6852;p8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53" name="Google Shape;6853;p8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54" name="Google Shape;6854;p8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55" name="Google Shape;6855;p8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56" name="Google Shape;6856;p8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57" name="Google Shape;6857;p86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5">
    <p:spTree>
      <p:nvGrpSpPr>
        <p:cNvPr id="1" name="Shape 6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9" name="Google Shape;6859;p8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60" name="Google Shape;6860;p8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61" name="Google Shape;6861;p8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62" name="Google Shape;6862;p8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63" name="Google Shape;6863;p8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64" name="Google Shape;6864;p8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65" name="Google Shape;6865;p8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66" name="Google Shape;6866;p8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67" name="Google Shape;6867;p8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68" name="Google Shape;6868;p8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69" name="Google Shape;6869;p8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70" name="Google Shape;6870;p8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4">
    <p:spTree>
      <p:nvGrpSpPr>
        <p:cNvPr id="1" name="Shape 6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2" name="Google Shape;6872;p86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73" name="Google Shape;6873;p86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74" name="Google Shape;6874;p86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75" name="Google Shape;6875;p8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76" name="Google Shape;6876;p8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77" name="Google Shape;6877;p8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78" name="Google Shape;6878;p8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79" name="Google Shape;6879;p8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80" name="Google Shape;6880;p8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81" name="Google Shape;6881;p8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82" name="Google Shape;6882;p8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83" name="Google Shape;6883;p86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5">
    <p:spTree>
      <p:nvGrpSpPr>
        <p:cNvPr id="1" name="Shape 68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85" name="Google Shape;6885;p86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86" name="Google Shape;6886;p86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87" name="Google Shape;6887;p86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88" name="Google Shape;6888;p8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89" name="Google Shape;6889;p8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90" name="Google Shape;6890;p8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91" name="Google Shape;6891;p8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92" name="Google Shape;6892;p8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93" name="Google Shape;6893;p8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94" name="Google Shape;6894;p8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95" name="Google Shape;6895;p8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96" name="Google Shape;6896;p86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7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1" name="Google Shape;711;p12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2" name="Google Shape;712;p12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3" name="Google Shape;713;p12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4" name="Google Shape;714;p12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" name="Google Shape;715;p12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6" name="Google Shape;716;p12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7" name="Google Shape;717;p12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" name="Google Shape;718;p12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9" name="Google Shape;719;p12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6">
    <p:spTree>
      <p:nvGrpSpPr>
        <p:cNvPr id="1" name="Shape 68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98" name="Google Shape;6898;p86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99" name="Google Shape;6899;p86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00" name="Google Shape;6900;p86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01" name="Google Shape;6901;p8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02" name="Google Shape;6902;p8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03" name="Google Shape;6903;p8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04" name="Google Shape;6904;p8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05" name="Google Shape;6905;p8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06" name="Google Shape;6906;p8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07" name="Google Shape;6907;p8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08" name="Google Shape;6908;p8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09" name="Google Shape;6909;p86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5">
    <p:spTree>
      <p:nvGrpSpPr>
        <p:cNvPr id="1" name="Shape 6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1" name="Google Shape;6911;p8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12" name="Google Shape;6912;p8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13" name="Google Shape;6913;p8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14" name="Google Shape;6914;p8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15" name="Google Shape;6915;p8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16" name="Google Shape;6916;p8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17" name="Google Shape;6917;p8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18" name="Google Shape;6918;p8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19" name="Google Shape;6919;p8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20" name="Google Shape;6920;p8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21" name="Google Shape;6921;p8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22" name="Google Shape;6922;p8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6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24" name="Google Shape;6924;p87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25" name="Google Shape;6925;p871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926" name="Google Shape;6926;p8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6927" name="Google Shape;6927;p871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928" name="Google Shape;6928;p87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6929" name="Google Shape;6929;p87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30" name="Google Shape;6930;p871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31" name="Google Shape;6931;p871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32" name="Google Shape;6932;p8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6933" name="Google Shape;6933;p87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34" name="Google Shape;6934;p8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4">
    <p:spTree>
      <p:nvGrpSpPr>
        <p:cNvPr id="1" name="Shape 6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36" name="Google Shape;6936;p8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37" name="Google Shape;6937;p8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38" name="Google Shape;6938;p8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39" name="Google Shape;6939;p8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40" name="Google Shape;6940;p8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41" name="Google Shape;6941;p8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42" name="Google Shape;6942;p8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43" name="Google Shape;6943;p8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44" name="Google Shape;6944;p8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45" name="Google Shape;6945;p8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46" name="Google Shape;6946;p8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47" name="Google Shape;6947;p8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5">
    <p:spTree>
      <p:nvGrpSpPr>
        <p:cNvPr id="1" name="Shape 6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9" name="Google Shape;6949;p8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50" name="Google Shape;6950;p8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51" name="Google Shape;6951;p8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52" name="Google Shape;6952;p8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53" name="Google Shape;6953;p8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54" name="Google Shape;6954;p8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55" name="Google Shape;6955;p8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56" name="Google Shape;6956;p8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57" name="Google Shape;6957;p8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58" name="Google Shape;6958;p8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59" name="Google Shape;6959;p8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60" name="Google Shape;6960;p8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6">
    <p:spTree>
      <p:nvGrpSpPr>
        <p:cNvPr id="1" name="Shape 6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2" name="Google Shape;6962;p87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63" name="Google Shape;6963;p87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64" name="Google Shape;6964;p87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65" name="Google Shape;6965;p8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66" name="Google Shape;6966;p8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67" name="Google Shape;6967;p8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68" name="Google Shape;6968;p8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69" name="Google Shape;6969;p8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70" name="Google Shape;6970;p8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71" name="Google Shape;6971;p8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72" name="Google Shape;6972;p8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73" name="Google Shape;6973;p87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 2">
    <p:spTree>
      <p:nvGrpSpPr>
        <p:cNvPr id="1" name="Shape 6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75" name="Google Shape;6975;p87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76" name="Google Shape;6976;p87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77" name="Google Shape;6977;p87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978" name="Google Shape;6978;p87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979" name="Google Shape;6979;p87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980" name="Google Shape;6980;p8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1" name="Google Shape;6981;p87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982" name="Google Shape;6982;p8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 2">
    <p:bg>
      <p:bgPr>
        <a:solidFill>
          <a:schemeClr val="lt2"/>
        </a:solidFill>
        <a:effectLst/>
      </p:bgPr>
    </p:bg>
    <p:spTree>
      <p:nvGrpSpPr>
        <p:cNvPr id="1" name="Shape 6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84" name="Google Shape;6984;p87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985" name="Google Shape;6985;p87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6" name="Google Shape;6986;p8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7" name="Google Shape;6987;p87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988" name="Google Shape;6988;p8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989" name="Google Shape;6989;p87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90" name="Google Shape;6990;p87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 2">
    <p:spTree>
      <p:nvGrpSpPr>
        <p:cNvPr id="1" name="Shape 6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92" name="Google Shape;6992;p125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993" name="Google Shape;6993;p125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994" name="Google Shape;6994;p125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995" name="Google Shape;6995;p125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6" name="Google Shape;6996;p125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997" name="Google Shape;6997;p125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998" name="Google Shape;6998;p12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3">
    <p:spTree>
      <p:nvGrpSpPr>
        <p:cNvPr id="1" name="Shape 6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00" name="Google Shape;7000;p125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01" name="Google Shape;7001;p125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02" name="Google Shape;7002;p12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03" name="Google Shape;7003;p12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04" name="Google Shape;7004;p12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05" name="Google Shape;7005;p12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006" name="Google Shape;7006;p12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07" name="Google Shape;7007;p12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08" name="Google Shape;7008;p12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09" name="Google Shape;7009;p12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10" name="Google Shape;7010;p12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11" name="Google Shape;7011;p125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1" name="Google Shape;721;p12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22" name="Google Shape;722;p12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3" name="Google Shape;723;p12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4" name="Google Shape;724;p12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5" name="Google Shape;725;p12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6" name="Google Shape;726;p12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27" name="Google Shape;727;p12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12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4">
    <p:spTree>
      <p:nvGrpSpPr>
        <p:cNvPr id="1" name="Shape 70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13" name="Google Shape;7013;p125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14" name="Google Shape;7014;p125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15" name="Google Shape;7015;p125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16" name="Google Shape;7016;p12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17" name="Google Shape;7017;p12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18" name="Google Shape;7018;p12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019" name="Google Shape;7019;p12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20" name="Google Shape;7020;p12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21" name="Google Shape;7021;p12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22" name="Google Shape;7022;p12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23" name="Google Shape;7023;p12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24" name="Google Shape;7024;p125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5">
    <p:spTree>
      <p:nvGrpSpPr>
        <p:cNvPr id="1" name="Shape 70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26" name="Google Shape;7026;p12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27" name="Google Shape;7027;p12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28" name="Google Shape;7028;p12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29" name="Google Shape;7029;p12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30" name="Google Shape;7030;p12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31" name="Google Shape;7031;p12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032" name="Google Shape;7032;p12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33" name="Google Shape;7033;p12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34" name="Google Shape;7034;p12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35" name="Google Shape;7035;p12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36" name="Google Shape;7036;p12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37" name="Google Shape;7037;p12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 2">
    <p:spTree>
      <p:nvGrpSpPr>
        <p:cNvPr id="1" name="Shape 70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39" name="Google Shape;7039;p8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40" name="Google Shape;7040;p8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41" name="Google Shape;7041;p8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42" name="Google Shape;7042;p8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43" name="Google Shape;7043;p8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44" name="Google Shape;7044;p8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45" name="Google Shape;7045;p8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46" name="Google Shape;7046;p8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47" name="Google Shape;7047;p8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48" name="Google Shape;7048;p8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 2">
    <p:spTree>
      <p:nvGrpSpPr>
        <p:cNvPr id="1" name="Shape 70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50" name="Google Shape;7050;p8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51" name="Google Shape;7051;p8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052" name="Google Shape;7052;p8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53" name="Google Shape;7053;p8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54" name="Google Shape;7054;p8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55" name="Google Shape;7055;p8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56" name="Google Shape;7056;p8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57" name="Google Shape;7057;p88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58" name="Google Shape;7058;p88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59" name="Google Shape;7059;p8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60" name="Google Shape;7060;p8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 2">
    <p:spTree>
      <p:nvGrpSpPr>
        <p:cNvPr id="1" name="Shape 70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62" name="Google Shape;7062;p12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63" name="Google Shape;7063;p12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64" name="Google Shape;7064;p12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65" name="Google Shape;7065;p12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66" name="Google Shape;7066;p12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67" name="Google Shape;7067;p12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68" name="Google Shape;7068;p125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69" name="Google Shape;7069;p125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70" name="Google Shape;7070;p125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71" name="Google Shape;7071;p125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72" name="Google Shape;7072;p12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73" name="Google Shape;7073;p12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74" name="Google Shape;7074;p12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 2">
    <p:spTree>
      <p:nvGrpSpPr>
        <p:cNvPr id="1" name="Shape 7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76" name="Google Shape;7076;p12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77" name="Google Shape;7077;p12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78" name="Google Shape;7078;p12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79" name="Google Shape;7079;p12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80" name="Google Shape;7080;p12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81" name="Google Shape;7081;p12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2" name="Google Shape;7082;p12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83" name="Google Shape;7083;p12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84" name="Google Shape;7084;p12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 2">
    <p:spTree>
      <p:nvGrpSpPr>
        <p:cNvPr id="1" name="Shape 7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86" name="Google Shape;7086;p125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087" name="Google Shape;7087;p125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88" name="Google Shape;7088;p125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089" name="Google Shape;7089;p125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90" name="Google Shape;7090;p125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91" name="Google Shape;7091;p125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092" name="Google Shape;7092;p12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093" name="Google Shape;7093;p12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 2">
    <p:spTree>
      <p:nvGrpSpPr>
        <p:cNvPr id="1" name="Shape 7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5" name="Google Shape;7095;p8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96" name="Google Shape;7096;p8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97" name="Google Shape;7097;p8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098" name="Google Shape;7098;p8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99" name="Google Shape;7099;p8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00" name="Google Shape;7100;p8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01" name="Google Shape;7101;p8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02" name="Google Shape;7102;p8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7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4" name="Google Shape;7104;p125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05" name="Google Shape;7105;p125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06" name="Google Shape;7106;p125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107" name="Google Shape;7107;p12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108" name="Google Shape;7108;p125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109" name="Google Shape;7109;p12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0" name="Google Shape;7110;p125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111" name="Google Shape;7111;p12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7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13" name="Google Shape;7113;p12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114" name="Google Shape;7114;p12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5" name="Google Shape;7115;p12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6" name="Google Shape;7116;p12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117" name="Google Shape;7117;p12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118" name="Google Shape;7118;p12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19" name="Google Shape;7119;p12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0" name="Google Shape;730;p12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1" name="Google Shape;731;p12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2" name="Google Shape;732;p12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3" name="Google Shape;733;p12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4" name="Google Shape;734;p12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5" name="Google Shape;735;p12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6" name="Google Shape;736;p12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7" name="Google Shape;737;p12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7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21" name="Google Shape;7121;p126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122" name="Google Shape;7122;p126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123" name="Google Shape;7123;p126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124" name="Google Shape;7124;p126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25" name="Google Shape;7125;p126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26" name="Google Shape;7126;p126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127" name="Google Shape;7127;p12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7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29" name="Google Shape;7129;p12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30" name="Google Shape;7130;p12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31" name="Google Shape;7131;p12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32" name="Google Shape;7132;p12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33" name="Google Shape;7133;p12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34" name="Google Shape;7134;p12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135" name="Google Shape;7135;p12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36" name="Google Shape;7136;p12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37" name="Google Shape;7137;p12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38" name="Google Shape;7138;p12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39" name="Google Shape;7139;p12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140" name="Google Shape;7140;p12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 2">
    <p:spTree>
      <p:nvGrpSpPr>
        <p:cNvPr id="1" name="Shape 7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42" name="Google Shape;7142;p12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43" name="Google Shape;7143;p12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44" name="Google Shape;7144;p12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45" name="Google Shape;7145;p12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46" name="Google Shape;7146;p12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47" name="Google Shape;7147;p12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148" name="Google Shape;7148;p12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49" name="Google Shape;7149;p12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50" name="Google Shape;7150;p12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51" name="Google Shape;7151;p12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2" name="Google Shape;7152;p12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153" name="Google Shape;7153;p12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7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55" name="Google Shape;7155;p12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56" name="Google Shape;7156;p12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57" name="Google Shape;7157;p12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58" name="Google Shape;7158;p12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9" name="Google Shape;7159;p12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60" name="Google Shape;7160;p12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61" name="Google Shape;7161;p12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62" name="Google Shape;7162;p12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63" name="Google Shape;7163;p12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64" name="Google Shape;7164;p12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7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6" name="Google Shape;7166;p8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67" name="Google Shape;7167;p8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68" name="Google Shape;7168;p8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69" name="Google Shape;7169;p8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70" name="Google Shape;7170;p8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71" name="Google Shape;7171;p8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72" name="Google Shape;7172;p8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73" name="Google Shape;7173;p89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74" name="Google Shape;7174;p89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75" name="Google Shape;7175;p8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76" name="Google Shape;7176;p8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7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78" name="Google Shape;7178;p8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79" name="Google Shape;7179;p8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80" name="Google Shape;7180;p8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81" name="Google Shape;7181;p8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82" name="Google Shape;7182;p8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83" name="Google Shape;7183;p8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84" name="Google Shape;7184;p89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185" name="Google Shape;7185;p89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86" name="Google Shape;7186;p89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187" name="Google Shape;7187;p89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88" name="Google Shape;7188;p8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9" name="Google Shape;7189;p8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90" name="Google Shape;7190;p8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7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92" name="Google Shape;7192;p8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93" name="Google Shape;7193;p8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94" name="Google Shape;7194;p8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95" name="Google Shape;7195;p8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96" name="Google Shape;7196;p8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97" name="Google Shape;7197;p8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98" name="Google Shape;7198;p8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99" name="Google Shape;7199;p8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00" name="Google Shape;7200;p8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7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02" name="Google Shape;7202;p89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203" name="Google Shape;7203;p89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04" name="Google Shape;7204;p89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05" name="Google Shape;7205;p89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06" name="Google Shape;7206;p89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07" name="Google Shape;7207;p89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208" name="Google Shape;7208;p8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209" name="Google Shape;7209;p89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7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1" name="Google Shape;7211;p8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12" name="Google Shape;7212;p8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13" name="Google Shape;7213;p8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214" name="Google Shape;7214;p8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15" name="Google Shape;7215;p8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16" name="Google Shape;7216;p8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17" name="Google Shape;7217;p8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18" name="Google Shape;7218;p8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2">
    <p:spTree>
      <p:nvGrpSpPr>
        <p:cNvPr id="1" name="Shape 7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20" name="Google Shape;7220;p126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21" name="Google Shape;7221;p126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22" name="Google Shape;7222;p126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23" name="Google Shape;7223;p12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24" name="Google Shape;7224;p12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25" name="Google Shape;7225;p12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226" name="Google Shape;7226;p12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27" name="Google Shape;7227;p12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28" name="Google Shape;7228;p12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29" name="Google Shape;7229;p12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30" name="Google Shape;7230;p12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31" name="Google Shape;7231;p126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oogle Shape;79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" name="Google Shape;80;p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" name="Google Shape;81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" name="Google Shape;82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" name="Google Shape;84;p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" name="Google Shape;86;p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" name="Google Shape;87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" name="Google Shape;88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9" name="Google Shape;739;p120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0" name="Google Shape;740;p120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1" name="Google Shape;741;p120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42" name="Google Shape;742;p12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43" name="Google Shape;743;p120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44" name="Google Shape;744;p12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5" name="Google Shape;745;p12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46" name="Google Shape;746;p12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3">
    <p:spTree>
      <p:nvGrpSpPr>
        <p:cNvPr id="1" name="Shape 7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33" name="Google Shape;7233;p12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34" name="Google Shape;7234;p12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35" name="Google Shape;7235;p12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36" name="Google Shape;7236;p12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37" name="Google Shape;7237;p12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38" name="Google Shape;7238;p12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239" name="Google Shape;7239;p12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40" name="Google Shape;7240;p12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41" name="Google Shape;7241;p12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42" name="Google Shape;7242;p12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43" name="Google Shape;7243;p12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44" name="Google Shape;7244;p12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 2">
    <p:spTree>
      <p:nvGrpSpPr>
        <p:cNvPr id="1" name="Shape 7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6" name="Google Shape;7246;p126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47" name="Google Shape;7247;p126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48" name="Google Shape;7248;p126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249" name="Google Shape;7249;p12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250" name="Google Shape;7250;p126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251" name="Google Shape;7251;p126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2" name="Google Shape;7252;p126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253" name="Google Shape;7253;p12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 2">
    <p:bg>
      <p:bgPr>
        <a:solidFill>
          <a:schemeClr val="lt2"/>
        </a:solidFill>
        <a:effectLst/>
      </p:bgPr>
    </p:bg>
    <p:spTree>
      <p:nvGrpSpPr>
        <p:cNvPr id="1" name="Shape 7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55" name="Google Shape;7255;p126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256" name="Google Shape;7256;p126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7" name="Google Shape;7257;p12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8" name="Google Shape;7258;p126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259" name="Google Shape;7259;p12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260" name="Google Shape;7260;p126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61" name="Google Shape;7261;p126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 2">
    <p:spTree>
      <p:nvGrpSpPr>
        <p:cNvPr id="1" name="Shape 7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63" name="Google Shape;7263;p126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264" name="Google Shape;7264;p126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265" name="Google Shape;7265;p126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266" name="Google Shape;7266;p126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67" name="Google Shape;7267;p126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68" name="Google Shape;7268;p126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269" name="Google Shape;7269;p12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 3">
    <p:spTree>
      <p:nvGrpSpPr>
        <p:cNvPr id="1" name="Shape 7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1" name="Google Shape;7271;p12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72" name="Google Shape;7272;p12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73" name="Google Shape;7273;p12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74" name="Google Shape;7274;p12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75" name="Google Shape;7275;p12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76" name="Google Shape;7276;p12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277" name="Google Shape;7277;p12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78" name="Google Shape;7278;p12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79" name="Google Shape;7279;p12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80" name="Google Shape;7280;p12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1" name="Google Shape;7281;p12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82" name="Google Shape;7282;p12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 2">
    <p:spTree>
      <p:nvGrpSpPr>
        <p:cNvPr id="1" name="Shape 7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84" name="Google Shape;7284;p12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85" name="Google Shape;7285;p12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86" name="Google Shape;7286;p12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87" name="Google Shape;7287;p12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8" name="Google Shape;7288;p12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289" name="Google Shape;7289;p12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90" name="Google Shape;7290;p127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91" name="Google Shape;7291;p12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92" name="Google Shape;7292;p12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93" name="Google Shape;7293;p12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 2">
    <p:spTree>
      <p:nvGrpSpPr>
        <p:cNvPr id="1" name="Shape 7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95" name="Google Shape;7295;p12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96" name="Google Shape;7296;p12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297" name="Google Shape;7297;p12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98" name="Google Shape;7298;p12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99" name="Google Shape;7299;p12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00" name="Google Shape;7300;p12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01" name="Google Shape;7301;p12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02" name="Google Shape;7302;p127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03" name="Google Shape;7303;p127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04" name="Google Shape;7304;p12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05" name="Google Shape;7305;p12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 2">
    <p:spTree>
      <p:nvGrpSpPr>
        <p:cNvPr id="1" name="Shape 7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07" name="Google Shape;7307;p12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08" name="Google Shape;7308;p12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09" name="Google Shape;7309;p12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10" name="Google Shape;7310;p12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11" name="Google Shape;7311;p12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12" name="Google Shape;7312;p12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13" name="Google Shape;7313;p127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314" name="Google Shape;7314;p127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15" name="Google Shape;7315;p127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316" name="Google Shape;7316;p127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17" name="Google Shape;7317;p12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18" name="Google Shape;7318;p12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19" name="Google Shape;7319;p12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 2">
    <p:spTree>
      <p:nvGrpSpPr>
        <p:cNvPr id="1" name="Shape 7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21" name="Google Shape;7321;p12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22" name="Google Shape;7322;p12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23" name="Google Shape;7323;p12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24" name="Google Shape;7324;p12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25" name="Google Shape;7325;p12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26" name="Google Shape;7326;p12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27" name="Google Shape;7327;p12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28" name="Google Shape;7328;p12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29" name="Google Shape;7329;p12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 2">
    <p:spTree>
      <p:nvGrpSpPr>
        <p:cNvPr id="1" name="Shape 7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31" name="Google Shape;7331;p127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332" name="Google Shape;7332;p127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33" name="Google Shape;7333;p127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334" name="Google Shape;7334;p127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35" name="Google Shape;7335;p127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36" name="Google Shape;7336;p127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337" name="Google Shape;7337;p12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338" name="Google Shape;7338;p127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8" name="Google Shape;748;p12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49" name="Google Shape;749;p12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0" name="Google Shape;750;p12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1" name="Google Shape;751;p12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52" name="Google Shape;752;p1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53" name="Google Shape;753;p12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4" name="Google Shape;754;p12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 2">
    <p:spTree>
      <p:nvGrpSpPr>
        <p:cNvPr id="1" name="Shape 7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40" name="Google Shape;7340;p12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41" name="Google Shape;7341;p12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42" name="Google Shape;7342;p12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343" name="Google Shape;7343;p12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44" name="Google Shape;7344;p12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45" name="Google Shape;7345;p12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46" name="Google Shape;7346;p12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47" name="Google Shape;7347;p12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4">
    <p:spTree>
      <p:nvGrpSpPr>
        <p:cNvPr id="1" name="Shape 7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49" name="Google Shape;7349;p12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50" name="Google Shape;7350;p12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51" name="Google Shape;7351;p12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52" name="Google Shape;7352;p12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53" name="Google Shape;7353;p12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54" name="Google Shape;7354;p12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355" name="Google Shape;7355;p12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56" name="Google Shape;7356;p12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57" name="Google Shape;7357;p12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58" name="Google Shape;7358;p12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59" name="Google Shape;7359;p12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360" name="Google Shape;7360;p127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 3">
    <p:spTree>
      <p:nvGrpSpPr>
        <p:cNvPr id="1" name="Shape 7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62" name="Google Shape;7362;p127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63" name="Google Shape;7363;p127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64" name="Google Shape;7364;p127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65" name="Google Shape;7365;p12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366" name="Google Shape;7366;p127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367" name="Google Shape;7367;p12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68" name="Google Shape;7368;p127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369" name="Google Shape;7369;p12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 3">
    <p:bg>
      <p:bgPr>
        <a:solidFill>
          <a:schemeClr val="lt2"/>
        </a:solidFill>
        <a:effectLst/>
      </p:bgPr>
    </p:bg>
    <p:spTree>
      <p:nvGrpSpPr>
        <p:cNvPr id="1" name="Shape 7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71" name="Google Shape;7371;p127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372" name="Google Shape;7372;p127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73" name="Google Shape;7373;p12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74" name="Google Shape;7374;p127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375" name="Google Shape;7375;p12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376" name="Google Shape;7376;p127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77" name="Google Shape;7377;p127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 3">
    <p:spTree>
      <p:nvGrpSpPr>
        <p:cNvPr id="1" name="Shape 7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9" name="Google Shape;7379;p128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380" name="Google Shape;7380;p128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381" name="Google Shape;7381;p128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382" name="Google Shape;7382;p128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83" name="Google Shape;7383;p128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384" name="Google Shape;7384;p128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385" name="Google Shape;7385;p12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 4">
    <p:spTree>
      <p:nvGrpSpPr>
        <p:cNvPr id="1" name="Shape 7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7" name="Google Shape;7387;p128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88" name="Google Shape;7388;p128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89" name="Google Shape;7389;p128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90" name="Google Shape;7390;p12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91" name="Google Shape;7391;p12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92" name="Google Shape;7392;p12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393" name="Google Shape;7393;p12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94" name="Google Shape;7394;p12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95" name="Google Shape;7395;p12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96" name="Google Shape;7396;p12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97" name="Google Shape;7397;p12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398" name="Google Shape;7398;p128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 3">
    <p:spTree>
      <p:nvGrpSpPr>
        <p:cNvPr id="1" name="Shape 7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00" name="Google Shape;7400;p12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01" name="Google Shape;7401;p12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02" name="Google Shape;7402;p12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03" name="Google Shape;7403;p12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04" name="Google Shape;7404;p12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05" name="Google Shape;7405;p12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06" name="Google Shape;7406;p12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07" name="Google Shape;7407;p12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08" name="Google Shape;7408;p12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09" name="Google Shape;7409;p12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 3">
    <p:spTree>
      <p:nvGrpSpPr>
        <p:cNvPr id="1" name="Shape 7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11" name="Google Shape;7411;p9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12" name="Google Shape;7412;p9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413" name="Google Shape;7413;p9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14" name="Google Shape;7414;p9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15" name="Google Shape;7415;p9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16" name="Google Shape;7416;p9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17" name="Google Shape;7417;p9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18" name="Google Shape;7418;p91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19" name="Google Shape;7419;p91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20" name="Google Shape;7420;p9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21" name="Google Shape;7421;p9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 3">
    <p:spTree>
      <p:nvGrpSpPr>
        <p:cNvPr id="1" name="Shape 7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23" name="Google Shape;7423;p9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24" name="Google Shape;7424;p9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25" name="Google Shape;7425;p9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26" name="Google Shape;7426;p9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27" name="Google Shape;7427;p9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28" name="Google Shape;7428;p91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29" name="Google Shape;7429;p91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430" name="Google Shape;7430;p91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31" name="Google Shape;7431;p9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432" name="Google Shape;7432;p9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33" name="Google Shape;7433;p9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34" name="Google Shape;7434;p9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35" name="Google Shape;7435;p9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 3">
    <p:spTree>
      <p:nvGrpSpPr>
        <p:cNvPr id="1" name="Shape 7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37" name="Google Shape;7437;p9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38" name="Google Shape;7438;p9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39" name="Google Shape;7439;p9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40" name="Google Shape;7440;p9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41" name="Google Shape;7441;p9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42" name="Google Shape;7442;p9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43" name="Google Shape;7443;p9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44" name="Google Shape;7444;p9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45" name="Google Shape;7445;p9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Google Shape;756;p121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" name="Google Shape;757;p12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8" name="Google Shape;758;p12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9" name="Google Shape;759;p12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0" name="Google Shape;760;p12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1" name="Google Shape;761;p12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62" name="Google Shape;762;p12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63" name="Google Shape;763;p12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4" name="Google Shape;764;p12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65" name="Google Shape;765;p12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6" name="Google Shape;766;p12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67" name="Google Shape;767;p121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 3">
    <p:spTree>
      <p:nvGrpSpPr>
        <p:cNvPr id="1" name="Shape 74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47" name="Google Shape;7447;p91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448" name="Google Shape;7448;p91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49" name="Google Shape;7449;p91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450" name="Google Shape;7450;p91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51" name="Google Shape;7451;p91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52" name="Google Shape;7452;p91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453" name="Google Shape;7453;p9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454" name="Google Shape;7454;p91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 3">
    <p:spTree>
      <p:nvGrpSpPr>
        <p:cNvPr id="1" name="Shape 7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6" name="Google Shape;7456;p9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57" name="Google Shape;7457;p9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58" name="Google Shape;7458;p9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459" name="Google Shape;7459;p9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60" name="Google Shape;7460;p9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61" name="Google Shape;7461;p9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62" name="Google Shape;7462;p9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63" name="Google Shape;7463;p9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5">
    <p:spTree>
      <p:nvGrpSpPr>
        <p:cNvPr id="1" name="Shape 7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65" name="Google Shape;7465;p9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66" name="Google Shape;7466;p9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67" name="Google Shape;7467;p9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68" name="Google Shape;7468;p9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69" name="Google Shape;7469;p9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70" name="Google Shape;7470;p9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471" name="Google Shape;7471;p9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72" name="Google Shape;7472;p9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73" name="Google Shape;7473;p9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74" name="Google Shape;7474;p9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75" name="Google Shape;7475;p9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476" name="Google Shape;7476;p9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7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8" name="Google Shape;7478;p92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79" name="Google Shape;7479;p92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480" name="Google Shape;7480;p92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81" name="Google Shape;7481;p9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482" name="Google Shape;7482;p9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7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4" name="Google Shape;7484;p92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85" name="Google Shape;7485;p92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86" name="Google Shape;7486;p92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87" name="Google Shape;7487;p9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488" name="Google Shape;7488;p9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489" name="Google Shape;7489;p92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90" name="Google Shape;7490;p92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91" name="Google Shape;7491;p92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492" name="Google Shape;7492;p9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7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94" name="Google Shape;7494;p128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95" name="Google Shape;7495;p128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96" name="Google Shape;7496;p128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97" name="Google Shape;7497;p12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498" name="Google Shape;7498;p12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499" name="Google Shape;7499;p128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00" name="Google Shape;7500;p128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01" name="Google Shape;7501;p128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02" name="Google Shape;7502;p12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7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4" name="Google Shape;7504;p128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05" name="Google Shape;7505;p128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06" name="Google Shape;7506;p128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07" name="Google Shape;7507;p12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508" name="Google Shape;7508;p12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09" name="Google Shape;7509;p128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10" name="Google Shape;7510;p128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11" name="Google Shape;7511;p128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12" name="Google Shape;7512;p12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 2">
    <p:spTree>
      <p:nvGrpSpPr>
        <p:cNvPr id="1" name="Shape 7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14" name="Google Shape;7514;p128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15" name="Google Shape;7515;p128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16" name="Google Shape;7516;p128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17" name="Google Shape;7517;p12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518" name="Google Shape;7518;p12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19" name="Google Shape;7519;p128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0" name="Google Shape;7520;p128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1" name="Google Shape;7521;p128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22" name="Google Shape;7522;p12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7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24" name="Google Shape;7524;p128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25" name="Google Shape;7525;p128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6" name="Google Shape;7526;p128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7" name="Google Shape;7527;p128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28" name="Google Shape;7528;p12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7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0" name="Google Shape;7530;p92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31" name="Google Shape;7531;p9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532" name="Google Shape;7532;p92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33" name="Google Shape;7533;p92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34" name="Google Shape;7534;p92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7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9" name="Google Shape;769;p1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0" name="Google Shape;770;p1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71" name="Google Shape;771;p1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2" name="Google Shape;772;p1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3" name="Google Shape;773;p1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4" name="Google Shape;774;p1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5" name="Google Shape;775;p12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6" name="Google Shape;776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7" name="Google Shape;777;p1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8" name="Google Shape;778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7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6" name="Google Shape;7536;p92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37" name="Google Shape;7537;p92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38" name="Google Shape;7538;p92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39" name="Google Shape;7539;p92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40" name="Google Shape;7540;p92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541" name="Google Shape;7541;p9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 2">
    <p:spTree>
      <p:nvGrpSpPr>
        <p:cNvPr id="1" name="Shape 7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43" name="Google Shape;7543;p9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44" name="Google Shape;7544;p9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45" name="Google Shape;7545;p9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46" name="Google Shape;7546;p9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547" name="Google Shape;7547;p9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48" name="Google Shape;7548;p9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49" name="Google Shape;7549;p9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0" name="Google Shape;7550;p9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51" name="Google Shape;7551;p9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7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3" name="Google Shape;7553;p9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54" name="Google Shape;7554;p9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5" name="Google Shape;7555;p9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6" name="Google Shape;7556;p9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57" name="Google Shape;7557;p9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7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9" name="Google Shape;7559;p128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60" name="Google Shape;7560;p12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561" name="Google Shape;7561;p128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62" name="Google Shape;7562;p128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63" name="Google Shape;7563;p128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7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5" name="Google Shape;7565;p128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66" name="Google Shape;7566;p128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67" name="Google Shape;7567;p128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68" name="Google Shape;7568;p128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69" name="Google Shape;7569;p128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570" name="Google Shape;7570;p12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7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2" name="Google Shape;7572;p128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73" name="Google Shape;7573;p128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74" name="Google Shape;7574;p128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75" name="Google Shape;7575;p12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576" name="Google Shape;7576;p12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77" name="Google Shape;7577;p128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8" name="Google Shape;7578;p128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9" name="Google Shape;7579;p128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80" name="Google Shape;7580;p12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75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82" name="Google Shape;7582;p129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83" name="Google Shape;7583;p129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84" name="Google Shape;7584;p129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85" name="Google Shape;7585;p129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86" name="Google Shape;7586;p12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7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88" name="Google Shape;7588;p129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89" name="Google Shape;7589;p12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590" name="Google Shape;7590;p129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91" name="Google Shape;7591;p129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92" name="Google Shape;7592;p129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7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94" name="Google Shape;7594;p129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95" name="Google Shape;7595;p129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96" name="Google Shape;7596;p129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97" name="Google Shape;7597;p129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98" name="Google Shape;7598;p129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599" name="Google Shape;7599;p12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 3">
    <p:spTree>
      <p:nvGrpSpPr>
        <p:cNvPr id="1" name="Shape 7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01" name="Google Shape;7601;p129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02" name="Google Shape;7602;p129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03" name="Google Shape;7603;p129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04" name="Google Shape;7604;p12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605" name="Google Shape;7605;p12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06" name="Google Shape;7606;p129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07" name="Google Shape;7607;p129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08" name="Google Shape;7608;p129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09" name="Google Shape;7609;p12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7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" name="Google Shape;780;p1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1" name="Google Shape;781;p1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82" name="Google Shape;782;p1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3" name="Google Shape;783;p1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4" name="Google Shape;784;p1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5" name="Google Shape;785;p1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6" name="Google Shape;786;p1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7" name="Google Shape;787;p13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8" name="Google Shape;788;p13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9" name="Google Shape;789;p1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0" name="Google Shape;790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 2">
    <p:spTree>
      <p:nvGrpSpPr>
        <p:cNvPr id="1" name="Shape 7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11" name="Google Shape;7611;p129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12" name="Google Shape;7612;p129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13" name="Google Shape;7613;p129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14" name="Google Shape;7614;p129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15" name="Google Shape;7615;p12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 2">
    <p:spTree>
      <p:nvGrpSpPr>
        <p:cNvPr id="1" name="Shape 7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17" name="Google Shape;7617;p129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18" name="Google Shape;7618;p12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619" name="Google Shape;7619;p129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20" name="Google Shape;7620;p129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21" name="Google Shape;7621;p129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 2">
    <p:spTree>
      <p:nvGrpSpPr>
        <p:cNvPr id="1" name="Shape 7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23" name="Google Shape;7623;p129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24" name="Google Shape;7624;p129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25" name="Google Shape;7625;p129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26" name="Google Shape;7626;p129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27" name="Google Shape;7627;p129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628" name="Google Shape;7628;p12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 2">
    <p:spTree>
      <p:nvGrpSpPr>
        <p:cNvPr id="1" name="Shape 7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30" name="Google Shape;7630;p129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31" name="Google Shape;7631;p129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32" name="Google Shape;7632;p129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33" name="Google Shape;7633;p12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634" name="Google Shape;7634;p12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35" name="Google Shape;7635;p129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36" name="Google Shape;7636;p129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37" name="Google Shape;7637;p129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38" name="Google Shape;7638;p12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 2">
    <p:spTree>
      <p:nvGrpSpPr>
        <p:cNvPr id="1" name="Shape 7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40" name="Google Shape;7640;p94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41" name="Google Shape;7641;p9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42" name="Google Shape;7642;p9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43" name="Google Shape;7643;p94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44" name="Google Shape;7644;p9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 2">
    <p:spTree>
      <p:nvGrpSpPr>
        <p:cNvPr id="1" name="Shape 7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46" name="Google Shape;7646;p94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47" name="Google Shape;7647;p9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648" name="Google Shape;7648;p94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49" name="Google Shape;7649;p94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50" name="Google Shape;7650;p94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 2">
    <p:spTree>
      <p:nvGrpSpPr>
        <p:cNvPr id="1" name="Shape 7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52" name="Google Shape;7652;p94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53" name="Google Shape;7653;p94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54" name="Google Shape;7654;p94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55" name="Google Shape;7655;p94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56" name="Google Shape;7656;p94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657" name="Google Shape;7657;p9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7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59" name="Google Shape;7659;p94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60" name="Google Shape;7660;p94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61" name="Google Shape;7661;p94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62" name="Google Shape;7662;p9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663" name="Google Shape;7663;p9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64" name="Google Shape;7664;p94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65" name="Google Shape;7665;p94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66" name="Google Shape;7666;p94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67" name="Google Shape;7667;p9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7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69" name="Google Shape;7669;p94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70" name="Google Shape;7670;p94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71" name="Google Shape;7671;p94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72" name="Google Shape;7672;p9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673" name="Google Shape;7673;p9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74" name="Google Shape;7674;p94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75" name="Google Shape;7675;p94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76" name="Google Shape;7676;p94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77" name="Google Shape;7677;p9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76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79" name="Google Shape;7679;p129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80" name="Google Shape;7680;p129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81" name="Google Shape;7681;p129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82" name="Google Shape;7682;p129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83" name="Google Shape;7683;p12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2" name="Google Shape;792;p1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3" name="Google Shape;793;p1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4" name="Google Shape;794;p1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5" name="Google Shape;795;p1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6" name="Google Shape;796;p1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7" name="Google Shape;797;p1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8" name="Google Shape;798;p13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9" name="Google Shape;799;p13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0" name="Google Shape;800;p13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1" name="Google Shape;801;p13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2" name="Google Shape;802;p1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3" name="Google Shape;803;p1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4" name="Google Shape;804;p1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7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5" name="Google Shape;7685;p129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86" name="Google Shape;7686;p12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687" name="Google Shape;7687;p129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88" name="Google Shape;7688;p129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89" name="Google Shape;7689;p129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7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91" name="Google Shape;7691;p130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92" name="Google Shape;7692;p130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93" name="Google Shape;7693;p130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94" name="Google Shape;7694;p130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95" name="Google Shape;7695;p130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696" name="Google Shape;7696;p13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7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98" name="Google Shape;7698;p95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99" name="Google Shape;7699;p95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00" name="Google Shape;7700;p95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01" name="Google Shape;7701;p9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702" name="Google Shape;7702;p9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03" name="Google Shape;7703;p95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04" name="Google Shape;7704;p95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05" name="Google Shape;7705;p95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06" name="Google Shape;7706;p9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7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08" name="Google Shape;7708;p95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09" name="Google Shape;7709;p95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10" name="Google Shape;7710;p95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11" name="Google Shape;7711;p95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12" name="Google Shape;7712;p9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7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14" name="Google Shape;7714;p95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715" name="Google Shape;7715;p9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716" name="Google Shape;7716;p95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17" name="Google Shape;7717;p95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18" name="Google Shape;7718;p95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7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0" name="Google Shape;7720;p95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21" name="Google Shape;7721;p95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22" name="Google Shape;7722;p95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23" name="Google Shape;7723;p95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24" name="Google Shape;7724;p95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725" name="Google Shape;7725;p9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7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7" name="Google Shape;7727;p95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28" name="Google Shape;7728;p95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29" name="Google Shape;7729;p95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30" name="Google Shape;7730;p95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31" name="Google Shape;7731;p9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7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33" name="Google Shape;7733;p95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734" name="Google Shape;7734;p9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735" name="Google Shape;7735;p95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36" name="Google Shape;7736;p95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37" name="Google Shape;7737;p95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7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39" name="Google Shape;7739;p9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40" name="Google Shape;7740;p9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41" name="Google Shape;7741;p95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42" name="Google Shape;7742;p95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43" name="Google Shape;7743;p95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744" name="Google Shape;7744;p9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 2">
    <p:spTree>
      <p:nvGrpSpPr>
        <p:cNvPr id="1" name="Shape 7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46" name="Google Shape;7746;p95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47" name="Google Shape;7747;p95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48" name="Google Shape;7748;p95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49" name="Google Shape;7749;p9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750" name="Google Shape;7750;p9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51" name="Google Shape;7751;p95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52" name="Google Shape;7752;p95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53" name="Google Shape;7753;p95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54" name="Google Shape;7754;p9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8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6" name="Google Shape;806;p13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07" name="Google Shape;807;p13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08" name="Google Shape;808;p13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09" name="Google Shape;809;p13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0" name="Google Shape;810;p13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1" name="Google Shape;811;p13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12" name="Google Shape;812;p1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 2">
    <p:spTree>
      <p:nvGrpSpPr>
        <p:cNvPr id="1" name="Shape 7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56" name="Google Shape;7756;p95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57" name="Google Shape;7757;p95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58" name="Google Shape;7758;p95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59" name="Google Shape;7759;p9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760" name="Google Shape;7760;p9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61" name="Google Shape;7761;p95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62" name="Google Shape;7762;p95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63" name="Google Shape;7763;p95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64" name="Google Shape;7764;p9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 2">
    <p:spTree>
      <p:nvGrpSpPr>
        <p:cNvPr id="1" name="Shape 7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66" name="Google Shape;7766;p96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67" name="Google Shape;7767;p96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68" name="Google Shape;7768;p96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69" name="Google Shape;7769;p96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70" name="Google Shape;7770;p9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 2">
    <p:spTree>
      <p:nvGrpSpPr>
        <p:cNvPr id="1" name="Shape 7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72" name="Google Shape;7772;p96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773" name="Google Shape;7773;p9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774" name="Google Shape;7774;p96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75" name="Google Shape;7775;p96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76" name="Google Shape;7776;p96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 2">
    <p:spTree>
      <p:nvGrpSpPr>
        <p:cNvPr id="1" name="Shape 77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78" name="Google Shape;7778;p96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79" name="Google Shape;7779;p96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80" name="Google Shape;7780;p96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81" name="Google Shape;7781;p96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82" name="Google Shape;7782;p96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783" name="Google Shape;7783;p9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 2">
    <p:spTree>
      <p:nvGrpSpPr>
        <p:cNvPr id="1" name="Shape 77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5" name="Google Shape;7785;p96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86" name="Google Shape;7786;p96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87" name="Google Shape;7787;p96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88" name="Google Shape;7788;p9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789" name="Google Shape;7789;p9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90" name="Google Shape;7790;p96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91" name="Google Shape;7791;p96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92" name="Google Shape;7792;p96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93" name="Google Shape;7793;p9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 2">
    <p:spTree>
      <p:nvGrpSpPr>
        <p:cNvPr id="1" name="Shape 7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95" name="Google Shape;7795;p96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96" name="Google Shape;7796;p96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97" name="Google Shape;7797;p96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98" name="Google Shape;7798;p96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99" name="Google Shape;7799;p9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 2">
    <p:spTree>
      <p:nvGrpSpPr>
        <p:cNvPr id="1" name="Shape 7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1" name="Google Shape;7801;p96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802" name="Google Shape;7802;p9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803" name="Google Shape;7803;p96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04" name="Google Shape;7804;p96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05" name="Google Shape;7805;p96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 2">
    <p:spTree>
      <p:nvGrpSpPr>
        <p:cNvPr id="1" name="Shape 7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7" name="Google Shape;7807;p96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08" name="Google Shape;7808;p96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09" name="Google Shape;7809;p96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10" name="Google Shape;7810;p96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11" name="Google Shape;7811;p96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812" name="Google Shape;7812;p9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 3">
    <p:spTree>
      <p:nvGrpSpPr>
        <p:cNvPr id="1" name="Shape 7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14" name="Google Shape;7814;p96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15" name="Google Shape;7815;p96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16" name="Google Shape;7816;p96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17" name="Google Shape;7817;p9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818" name="Google Shape;7818;p9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819" name="Google Shape;7819;p96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20" name="Google Shape;7820;p96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21" name="Google Shape;7821;p96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22" name="Google Shape;7822;p9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 3">
    <p:spTree>
      <p:nvGrpSpPr>
        <p:cNvPr id="1" name="Shape 7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24" name="Google Shape;7824;p96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25" name="Google Shape;7825;p96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26" name="Google Shape;7826;p96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27" name="Google Shape;7827;p9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828" name="Google Shape;7828;p9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829" name="Google Shape;7829;p96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30" name="Google Shape;7830;p96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31" name="Google Shape;7831;p96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32" name="Google Shape;7832;p9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4" name="Google Shape;814;p13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15" name="Google Shape;815;p13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6" name="Google Shape;816;p13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7" name="Google Shape;817;p13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8" name="Google Shape;818;p13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9" name="Google Shape;819;p13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20" name="Google Shape;820;p1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21" name="Google Shape;821;p13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 3">
    <p:spTree>
      <p:nvGrpSpPr>
        <p:cNvPr id="1" name="Shape 78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34" name="Google Shape;7834;p96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35" name="Google Shape;7835;p96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36" name="Google Shape;7836;p96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37" name="Google Shape;7837;p96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38" name="Google Shape;7838;p9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 3">
    <p:spTree>
      <p:nvGrpSpPr>
        <p:cNvPr id="1" name="Shape 78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0" name="Google Shape;7840;p97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841" name="Google Shape;7841;p9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842" name="Google Shape;7842;p97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43" name="Google Shape;7843;p97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44" name="Google Shape;7844;p97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 3">
    <p:spTree>
      <p:nvGrpSpPr>
        <p:cNvPr id="1" name="Shape 7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6" name="Google Shape;7846;p97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47" name="Google Shape;7847;p97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48" name="Google Shape;7848;p97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49" name="Google Shape;7849;p97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50" name="Google Shape;7850;p97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851" name="Google Shape;7851;p9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 3">
    <p:spTree>
      <p:nvGrpSpPr>
        <p:cNvPr id="1" name="Shape 7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53" name="Google Shape;7853;p97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54" name="Google Shape;7854;p97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55" name="Google Shape;7855;p97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56" name="Google Shape;7856;p9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857" name="Google Shape;7857;p9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858" name="Google Shape;7858;p97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59" name="Google Shape;7859;p97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60" name="Google Shape;7860;p97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61" name="Google Shape;7861;p9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 3">
    <p:spTree>
      <p:nvGrpSpPr>
        <p:cNvPr id="1" name="Shape 78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3" name="Google Shape;7863;p97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64" name="Google Shape;7864;p97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65" name="Google Shape;7865;p97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66" name="Google Shape;7866;p97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67" name="Google Shape;7867;p9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 3">
    <p:spTree>
      <p:nvGrpSpPr>
        <p:cNvPr id="1" name="Shape 7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9" name="Google Shape;7869;p97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870" name="Google Shape;7870;p9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871" name="Google Shape;7871;p97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72" name="Google Shape;7872;p97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73" name="Google Shape;7873;p97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 3">
    <p:spTree>
      <p:nvGrpSpPr>
        <p:cNvPr id="1" name="Shape 78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75" name="Google Shape;7875;p97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76" name="Google Shape;7876;p97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77" name="Google Shape;7877;p97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78" name="Google Shape;7878;p97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79" name="Google Shape;7879;p97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880" name="Google Shape;7880;p9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78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2" name="Google Shape;7882;p97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83" name="Google Shape;7883;p97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84" name="Google Shape;7884;p97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885" name="Google Shape;7885;p9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886" name="Google Shape;7886;p97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887" name="Google Shape;7887;p9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88" name="Google Shape;7888;p97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889" name="Google Shape;7889;p9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78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91" name="Google Shape;7891;p97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892" name="Google Shape;7892;p97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93" name="Google Shape;7893;p9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94" name="Google Shape;7894;p97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895" name="Google Shape;7895;p9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896" name="Google Shape;7896;p97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97" name="Google Shape;7897;p97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7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99" name="Google Shape;7899;p9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900" name="Google Shape;7900;p9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901" name="Google Shape;7901;p9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902" name="Google Shape;7902;p9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03" name="Google Shape;7903;p9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904" name="Google Shape;7904;p9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905" name="Google Shape;7905;p9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" name="Google Shape;823;p12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4" name="Google Shape;824;p12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5" name="Google Shape;825;p12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6" name="Google Shape;826;p12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7" name="Google Shape;827;p12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8" name="Google Shape;828;p12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9" name="Google Shape;829;p12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0" name="Google Shape;830;p12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7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07" name="Google Shape;7907;p9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08" name="Google Shape;7908;p9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09" name="Google Shape;7909;p9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10" name="Google Shape;7910;p9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11" name="Google Shape;7911;p9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12" name="Google Shape;7912;p9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913" name="Google Shape;7913;p9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14" name="Google Shape;7914;p9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15" name="Google Shape;7915;p9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16" name="Google Shape;7916;p9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17" name="Google Shape;7917;p9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918" name="Google Shape;7918;p9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2">
    <p:spTree>
      <p:nvGrpSpPr>
        <p:cNvPr id="1" name="Shape 79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20" name="Google Shape;7920;p9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21" name="Google Shape;7921;p9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22" name="Google Shape;7922;p9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23" name="Google Shape;7923;p9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24" name="Google Shape;7924;p9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25" name="Google Shape;7925;p9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926" name="Google Shape;7926;p9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27" name="Google Shape;7927;p9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28" name="Google Shape;7928;p9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29" name="Google Shape;7929;p9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30" name="Google Shape;7930;p9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931" name="Google Shape;7931;p98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7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33" name="Google Shape;7933;p9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34" name="Google Shape;7934;p9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935" name="Google Shape;7935;p9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36" name="Google Shape;7936;p9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37" name="Google Shape;7937;p9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38" name="Google Shape;7938;p9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39" name="Google Shape;7939;p9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40" name="Google Shape;7940;p9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41" name="Google Shape;7941;p9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42" name="Google Shape;7942;p9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43" name="Google Shape;7943;p9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7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45" name="Google Shape;7945;p9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46" name="Google Shape;7946;p9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47" name="Google Shape;7947;p9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48" name="Google Shape;7948;p9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49" name="Google Shape;7949;p9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50" name="Google Shape;7950;p9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51" name="Google Shape;7951;p98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52" name="Google Shape;7952;p98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53" name="Google Shape;7953;p9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54" name="Google Shape;7954;p9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55" name="Google Shape;7955;p9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56" name="Google Shape;7956;p9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57" name="Google Shape;7957;p9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79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59" name="Google Shape;7959;p9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60" name="Google Shape;7960;p9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61" name="Google Shape;7961;p9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62" name="Google Shape;7962;p9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63" name="Google Shape;7963;p9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64" name="Google Shape;7964;p9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65" name="Google Shape;7965;p9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66" name="Google Shape;7966;p9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67" name="Google Shape;7967;p9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79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69" name="Google Shape;7969;p98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970" name="Google Shape;7970;p98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71" name="Google Shape;7971;p98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972" name="Google Shape;7972;p98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73" name="Google Shape;7973;p98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74" name="Google Shape;7974;p98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975" name="Google Shape;7975;p9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976" name="Google Shape;7976;p9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7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78" name="Google Shape;7978;p9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79" name="Google Shape;7979;p9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80" name="Google Shape;7980;p9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981" name="Google Shape;7981;p9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82" name="Google Shape;7982;p9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83" name="Google Shape;7983;p9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84" name="Google Shape;7984;p9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85" name="Google Shape;7985;p9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7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" name="Google Shape;7987;p9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88" name="Google Shape;7988;p9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89" name="Google Shape;7989;p9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990" name="Google Shape;7990;p9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991" name="Google Shape;7991;p9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992" name="Google Shape;7992;p9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93" name="Google Shape;7993;p9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994" name="Google Shape;7994;p9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79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96" name="Google Shape;7996;p9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997" name="Google Shape;7997;p9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98" name="Google Shape;7998;p9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99" name="Google Shape;7999;p9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000" name="Google Shape;8000;p9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001" name="Google Shape;8001;p9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02" name="Google Shape;8002;p9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8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4" name="Google Shape;8004;p9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005" name="Google Shape;8005;p9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006" name="Google Shape;8006;p9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007" name="Google Shape;8007;p9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08" name="Google Shape;8008;p9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009" name="Google Shape;8009;p9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010" name="Google Shape;8010;p9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2" name="Google Shape;832;p1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" name="Google Shape;833;p1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4" name="Google Shape;834;p1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" name="Google Shape;835;p1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" name="Google Shape;836;p1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7" name="Google Shape;837;p1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8" name="Google Shape;838;p1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9" name="Google Shape;839;p1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0" name="Google Shape;840;p1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80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12" name="Google Shape;8012;p9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13" name="Google Shape;8013;p9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14" name="Google Shape;8014;p9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15" name="Google Shape;8015;p9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16" name="Google Shape;8016;p9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17" name="Google Shape;8017;p9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018" name="Google Shape;8018;p9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19" name="Google Shape;8019;p9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20" name="Google Shape;8020;p9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21" name="Google Shape;8021;p9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22" name="Google Shape;8022;p9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023" name="Google Shape;8023;p9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2">
    <p:spTree>
      <p:nvGrpSpPr>
        <p:cNvPr id="1" name="Shape 80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25" name="Google Shape;8025;p9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26" name="Google Shape;8026;p9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27" name="Google Shape;8027;p9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28" name="Google Shape;8028;p9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29" name="Google Shape;8029;p9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30" name="Google Shape;8030;p9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031" name="Google Shape;8031;p9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32" name="Google Shape;8032;p9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33" name="Google Shape;8033;p9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34" name="Google Shape;8034;p9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35" name="Google Shape;8035;p9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036" name="Google Shape;8036;p9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80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38" name="Google Shape;8038;p9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39" name="Google Shape;8039;p9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40" name="Google Shape;8040;p9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41" name="Google Shape;8041;p9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42" name="Google Shape;8042;p9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43" name="Google Shape;8043;p9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44" name="Google Shape;8044;p9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45" name="Google Shape;8045;p9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46" name="Google Shape;8046;p9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47" name="Google Shape;8047;p9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8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49" name="Google Shape;8049;p9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50" name="Google Shape;8050;p9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051" name="Google Shape;8051;p9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52" name="Google Shape;8052;p9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53" name="Google Shape;8053;p9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54" name="Google Shape;8054;p9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55" name="Google Shape;8055;p9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56" name="Google Shape;8056;p9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57" name="Google Shape;8057;p9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58" name="Google Shape;8058;p9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59" name="Google Shape;8059;p9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8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61" name="Google Shape;8061;p9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62" name="Google Shape;8062;p9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63" name="Google Shape;8063;p9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64" name="Google Shape;8064;p9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65" name="Google Shape;8065;p9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66" name="Google Shape;8066;p9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67" name="Google Shape;8067;p9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68" name="Google Shape;8068;p9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69" name="Google Shape;8069;p9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70" name="Google Shape;8070;p9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71" name="Google Shape;8071;p9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72" name="Google Shape;8072;p9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73" name="Google Shape;8073;p9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80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75" name="Google Shape;8075;p9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76" name="Google Shape;8076;p9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77" name="Google Shape;8077;p9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78" name="Google Shape;8078;p9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79" name="Google Shape;8079;p9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80" name="Google Shape;8080;p9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81" name="Google Shape;8081;p9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82" name="Google Shape;8082;p9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83" name="Google Shape;8083;p9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8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85" name="Google Shape;8085;p9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086" name="Google Shape;8086;p9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87" name="Google Shape;8087;p9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088" name="Google Shape;8088;p9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89" name="Google Shape;8089;p9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90" name="Google Shape;8090;p9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091" name="Google Shape;8091;p9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092" name="Google Shape;8092;p9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80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4" name="Google Shape;8094;p9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95" name="Google Shape;8095;p9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96" name="Google Shape;8096;p9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097" name="Google Shape;8097;p9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98" name="Google Shape;8098;p9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99" name="Google Shape;8099;p9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00" name="Google Shape;8100;p9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01" name="Google Shape;8101;p9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8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03" name="Google Shape;8103;p997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104" name="Google Shape;8104;p9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105" name="Google Shape;8105;p997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106" name="Google Shape;8106;p997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07" name="Google Shape;8107;p997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108" name="Google Shape;8108;p997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09" name="Google Shape;8109;p997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10" name="Google Shape;8110;p997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11" name="Google Shape;8111;p997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 2">
    <p:spTree>
      <p:nvGrpSpPr>
        <p:cNvPr id="1" name="Shape 8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3" name="Google Shape;8113;p99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14" name="Google Shape;8114;p99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15" name="Google Shape;8115;p99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116" name="Google Shape;8116;p99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117" name="Google Shape;8117;p99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118" name="Google Shape;8118;p9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19" name="Google Shape;8119;p99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20" name="Google Shape;8120;p9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Google Shape;90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" name="Google Shape;91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" name="Google Shape;92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" name="Google Shape;93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" name="Google Shape;95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" name="Google Shape;98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" name="Google Shape;99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" name="Google Shape;842;p13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3" name="Google Shape;843;p13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4" name="Google Shape;844;p13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45" name="Google Shape;845;p1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46" name="Google Shape;846;p13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47" name="Google Shape;847;p13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8" name="Google Shape;848;p13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9" name="Google Shape;849;p1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 2">
    <p:bg>
      <p:bgPr>
        <a:solidFill>
          <a:schemeClr val="lt2"/>
        </a:solidFill>
        <a:effectLst/>
      </p:bgPr>
    </p:bg>
    <p:spTree>
      <p:nvGrpSpPr>
        <p:cNvPr id="1" name="Shape 8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22" name="Google Shape;8122;p99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123" name="Google Shape;8123;p99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24" name="Google Shape;8124;p9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25" name="Google Shape;8125;p99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26" name="Google Shape;8126;p9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127" name="Google Shape;8127;p99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28" name="Google Shape;8128;p99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 2">
    <p:spTree>
      <p:nvGrpSpPr>
        <p:cNvPr id="1" name="Shape 8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30" name="Google Shape;8130;p10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131" name="Google Shape;8131;p10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132" name="Google Shape;8132;p10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133" name="Google Shape;8133;p10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34" name="Google Shape;8134;p10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35" name="Google Shape;8135;p10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136" name="Google Shape;8136;p10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3">
    <p:spTree>
      <p:nvGrpSpPr>
        <p:cNvPr id="1" name="Shape 8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38" name="Google Shape;8138;p10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39" name="Google Shape;8139;p10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40" name="Google Shape;8140;p10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41" name="Google Shape;8141;p10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42" name="Google Shape;8142;p10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43" name="Google Shape;8143;p10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144" name="Google Shape;8144;p10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45" name="Google Shape;8145;p10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46" name="Google Shape;8146;p10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47" name="Google Shape;8147;p10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48" name="Google Shape;8148;p10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149" name="Google Shape;8149;p10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4">
    <p:spTree>
      <p:nvGrpSpPr>
        <p:cNvPr id="1" name="Shape 8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1" name="Google Shape;8151;p10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52" name="Google Shape;8152;p10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53" name="Google Shape;8153;p10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54" name="Google Shape;8154;p10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55" name="Google Shape;8155;p10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56" name="Google Shape;8156;p10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157" name="Google Shape;8157;p10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58" name="Google Shape;8158;p10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59" name="Google Shape;8159;p10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60" name="Google Shape;8160;p10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61" name="Google Shape;8161;p10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162" name="Google Shape;8162;p10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5">
    <p:spTree>
      <p:nvGrpSpPr>
        <p:cNvPr id="1" name="Shape 8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64" name="Google Shape;8164;p100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65" name="Google Shape;8165;p10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66" name="Google Shape;8166;p10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67" name="Google Shape;8167;p10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68" name="Google Shape;8168;p10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69" name="Google Shape;8169;p10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170" name="Google Shape;8170;p10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71" name="Google Shape;8171;p10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72" name="Google Shape;8172;p10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73" name="Google Shape;8173;p10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74" name="Google Shape;8174;p10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175" name="Google Shape;8175;p100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 2">
    <p:spTree>
      <p:nvGrpSpPr>
        <p:cNvPr id="1" name="Shape 8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77" name="Google Shape;8177;p10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78" name="Google Shape;8178;p10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179" name="Google Shape;8179;p10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80" name="Google Shape;8180;p10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81" name="Google Shape;8181;p10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82" name="Google Shape;8182;p10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83" name="Google Shape;8183;p10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84" name="Google Shape;8184;p10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85" name="Google Shape;8185;p10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86" name="Google Shape;8186;p10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87" name="Google Shape;8187;p10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 2">
    <p:spTree>
      <p:nvGrpSpPr>
        <p:cNvPr id="1" name="Shape 8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89" name="Google Shape;8189;p10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90" name="Google Shape;8190;p10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91" name="Google Shape;8191;p10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92" name="Google Shape;8192;p10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93" name="Google Shape;8193;p10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94" name="Google Shape;8194;p10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95" name="Google Shape;8195;p10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196" name="Google Shape;8196;p10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97" name="Google Shape;8197;p10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198" name="Google Shape;8198;p10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99" name="Google Shape;8199;p10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00" name="Google Shape;8200;p10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01" name="Google Shape;8201;p10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 2">
    <p:spTree>
      <p:nvGrpSpPr>
        <p:cNvPr id="1" name="Shape 8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03" name="Google Shape;8203;p10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04" name="Google Shape;8204;p10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05" name="Google Shape;8205;p10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06" name="Google Shape;8206;p10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07" name="Google Shape;8207;p10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208" name="Google Shape;8208;p10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09" name="Google Shape;8209;p10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10" name="Google Shape;8210;p10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11" name="Google Shape;8211;p10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 2">
    <p:spTree>
      <p:nvGrpSpPr>
        <p:cNvPr id="1" name="Shape 8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13" name="Google Shape;8213;p10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214" name="Google Shape;8214;p10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15" name="Google Shape;8215;p10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216" name="Google Shape;8216;p10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17" name="Google Shape;8217;p10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18" name="Google Shape;8218;p10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219" name="Google Shape;8219;p10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220" name="Google Shape;8220;p10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 2">
    <p:spTree>
      <p:nvGrpSpPr>
        <p:cNvPr id="1" name="Shape 8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22" name="Google Shape;8222;p10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23" name="Google Shape;8223;p10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24" name="Google Shape;8224;p10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225" name="Google Shape;8225;p10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26" name="Google Shape;8226;p10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27" name="Google Shape;8227;p10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28" name="Google Shape;8228;p10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29" name="Google Shape;8229;p10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1" name="Google Shape;851;p13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52" name="Google Shape;852;p13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3" name="Google Shape;853;p13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4" name="Google Shape;854;p13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55" name="Google Shape;855;p1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6" name="Google Shape;856;p13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7" name="Google Shape;857;p13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 2">
    <p:spTree>
      <p:nvGrpSpPr>
        <p:cNvPr id="1" name="Shape 8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1" name="Google Shape;8231;p100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32" name="Google Shape;8232;p100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33" name="Google Shape;8233;p100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234" name="Google Shape;8234;p10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235" name="Google Shape;8235;p100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236" name="Google Shape;8236;p10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37" name="Google Shape;8237;p10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38" name="Google Shape;8238;p10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 2">
    <p:bg>
      <p:bgPr>
        <a:solidFill>
          <a:schemeClr val="lt2"/>
        </a:solidFill>
        <a:effectLst/>
      </p:bgPr>
    </p:bg>
    <p:spTree>
      <p:nvGrpSpPr>
        <p:cNvPr id="1" name="Shape 8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40" name="Google Shape;8240;p101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241" name="Google Shape;8241;p10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42" name="Google Shape;8242;p10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43" name="Google Shape;8243;p10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44" name="Google Shape;8244;p10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245" name="Google Shape;8245;p101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46" name="Google Shape;8246;p101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 2">
    <p:spTree>
      <p:nvGrpSpPr>
        <p:cNvPr id="1" name="Shape 8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48" name="Google Shape;8248;p10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249" name="Google Shape;8249;p10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250" name="Google Shape;8250;p10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251" name="Google Shape;8251;p10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52" name="Google Shape;8252;p10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253" name="Google Shape;8253;p10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254" name="Google Shape;8254;p10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3">
    <p:spTree>
      <p:nvGrpSpPr>
        <p:cNvPr id="1" name="Shape 8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6" name="Google Shape;8256;p10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57" name="Google Shape;8257;p10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58" name="Google Shape;8258;p10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59" name="Google Shape;8259;p10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60" name="Google Shape;8260;p10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61" name="Google Shape;8261;p10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262" name="Google Shape;8262;p10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63" name="Google Shape;8263;p10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64" name="Google Shape;8264;p10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65" name="Google Shape;8265;p10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66" name="Google Shape;8266;p10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67" name="Google Shape;8267;p10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4">
    <p:spTree>
      <p:nvGrpSpPr>
        <p:cNvPr id="1" name="Shape 8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9" name="Google Shape;8269;p10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0" name="Google Shape;8270;p10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71" name="Google Shape;8271;p10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72" name="Google Shape;8272;p10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73" name="Google Shape;8273;p10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74" name="Google Shape;8274;p10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275" name="Google Shape;8275;p10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76" name="Google Shape;8276;p10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77" name="Google Shape;8277;p10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78" name="Google Shape;8278;p10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79" name="Google Shape;8279;p10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80" name="Google Shape;8280;p10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5">
    <p:spTree>
      <p:nvGrpSpPr>
        <p:cNvPr id="1" name="Shape 8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2" name="Google Shape;8282;p10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83" name="Google Shape;8283;p10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4" name="Google Shape;8284;p10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85" name="Google Shape;8285;p10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86" name="Google Shape;8286;p10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87" name="Google Shape;8287;p10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288" name="Google Shape;8288;p10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89" name="Google Shape;8289;p10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90" name="Google Shape;8290;p10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91" name="Google Shape;8291;p10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92" name="Google Shape;8292;p10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93" name="Google Shape;8293;p10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 2">
    <p:spTree>
      <p:nvGrpSpPr>
        <p:cNvPr id="1" name="Shape 8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95" name="Google Shape;8295;p10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96" name="Google Shape;8296;p10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97" name="Google Shape;8297;p10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98" name="Google Shape;8298;p10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99" name="Google Shape;8299;p10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00" name="Google Shape;8300;p10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01" name="Google Shape;8301;p10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02" name="Google Shape;8302;p10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03" name="Google Shape;8303;p10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04" name="Google Shape;8304;p10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 2">
    <p:spTree>
      <p:nvGrpSpPr>
        <p:cNvPr id="1" name="Shape 8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06" name="Google Shape;8306;p10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07" name="Google Shape;8307;p10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308" name="Google Shape;8308;p10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09" name="Google Shape;8309;p10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10" name="Google Shape;8310;p10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11" name="Google Shape;8311;p10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12" name="Google Shape;8312;p10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13" name="Google Shape;8313;p101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14" name="Google Shape;8314;p101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15" name="Google Shape;8315;p10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16" name="Google Shape;8316;p10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 2">
    <p:spTree>
      <p:nvGrpSpPr>
        <p:cNvPr id="1" name="Shape 8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18" name="Google Shape;8318;p10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19" name="Google Shape;8319;p10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20" name="Google Shape;8320;p10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21" name="Google Shape;8321;p10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22" name="Google Shape;8322;p10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23" name="Google Shape;8323;p101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24" name="Google Shape;8324;p101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325" name="Google Shape;8325;p101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26" name="Google Shape;8326;p10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327" name="Google Shape;8327;p10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28" name="Google Shape;8328;p10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29" name="Google Shape;8329;p10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30" name="Google Shape;8330;p10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 2">
    <p:spTree>
      <p:nvGrpSpPr>
        <p:cNvPr id="1" name="Shape 8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32" name="Google Shape;8332;p10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3" name="Google Shape;8333;p10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34" name="Google Shape;8334;p10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35" name="Google Shape;8335;p10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36" name="Google Shape;8336;p10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37" name="Google Shape;8337;p10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38" name="Google Shape;8338;p10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39" name="Google Shape;8339;p10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40" name="Google Shape;8340;p10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" name="Google Shape;859;p13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0" name="Google Shape;860;p13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1" name="Google Shape;861;p1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2" name="Google Shape;862;p1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3" name="Google Shape;863;p1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4" name="Google Shape;864;p1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65" name="Google Shape;865;p1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6" name="Google Shape;866;p1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7" name="Google Shape;867;p1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8" name="Google Shape;868;p1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9" name="Google Shape;869;p1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0" name="Google Shape;870;p13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 2">
    <p:spTree>
      <p:nvGrpSpPr>
        <p:cNvPr id="1" name="Shape 8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42" name="Google Shape;8342;p101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343" name="Google Shape;8343;p101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44" name="Google Shape;8344;p101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45" name="Google Shape;8345;p101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46" name="Google Shape;8346;p101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47" name="Google Shape;8347;p101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348" name="Google Shape;8348;p10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349" name="Google Shape;8349;p101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 2">
    <p:spTree>
      <p:nvGrpSpPr>
        <p:cNvPr id="1" name="Shape 83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51" name="Google Shape;8351;p10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52" name="Google Shape;8352;p10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53" name="Google Shape;8353;p10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354" name="Google Shape;8354;p10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55" name="Google Shape;8355;p10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56" name="Google Shape;8356;p10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7" name="Google Shape;8357;p10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58" name="Google Shape;8358;p10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">
    <p:spTree>
      <p:nvGrpSpPr>
        <p:cNvPr id="1" name="Shape 8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60" name="Google Shape;8360;p1021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361" name="Google Shape;8361;p10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362" name="Google Shape;8362;p1021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363" name="Google Shape;8363;p1021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64" name="Google Shape;8364;p1021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365" name="Google Shape;8365;p1021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66" name="Google Shape;8366;p1021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67" name="Google Shape;8367;p1021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68" name="Google Shape;8368;p1021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3">
    <p:spTree>
      <p:nvGrpSpPr>
        <p:cNvPr id="1" name="Shape 8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70" name="Google Shape;8370;p1022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371" name="Google Shape;8371;p10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372" name="Google Shape;8372;p1022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373" name="Google Shape;8373;p1022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74" name="Google Shape;8374;p102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375" name="Google Shape;8375;p1022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76" name="Google Shape;8376;p1022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77" name="Google Shape;8377;p1022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78" name="Google Shape;8378;p1022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4">
    <p:spTree>
      <p:nvGrpSpPr>
        <p:cNvPr id="1" name="Shape 8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80" name="Google Shape;8380;p102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381" name="Google Shape;8381;p10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382" name="Google Shape;8382;p102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383" name="Google Shape;8383;p102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84" name="Google Shape;8384;p10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385" name="Google Shape;8385;p102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86" name="Google Shape;8386;p102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87" name="Google Shape;8387;p102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88" name="Google Shape;8388;p102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8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0" name="Google Shape;8390;p1024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91" name="Google Shape;8391;p1024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92" name="Google Shape;8392;p1024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93" name="Google Shape;8393;p1024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94" name="Google Shape;8394;p10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395" name="Google Shape;8395;p1024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8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" name="Google Shape;8397;p130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98" name="Google Shape;8398;p130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99" name="Google Shape;8399;p130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400" name="Google Shape;8400;p13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401" name="Google Shape;8401;p13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402" name="Google Shape;8402;p130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03" name="Google Shape;8403;p130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04" name="Google Shape;8404;p130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405" name="Google Shape;8405;p13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 2">
    <p:spTree>
      <p:nvGrpSpPr>
        <p:cNvPr id="1" name="Shape 8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07" name="Google Shape;8407;p1302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08" name="Google Shape;8408;p13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409" name="Google Shape;8409;p1302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410" name="Google Shape;8410;p1302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11" name="Google Shape;8411;p130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412" name="Google Shape;8412;p1302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13" name="Google Shape;8413;p1302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14" name="Google Shape;8414;p1302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15" name="Google Shape;8415;p1302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8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17" name="Google Shape;8417;p102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18" name="Google Shape;8418;p1027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19" name="Google Shape;8419;p1027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20" name="Google Shape;8420;p1027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21" name="Google Shape;8421;p10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422" name="Google Shape;8422;p1027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 2">
    <p:spTree>
      <p:nvGrpSpPr>
        <p:cNvPr id="1" name="Shape 8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4" name="Google Shape;8424;p130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25" name="Google Shape;8425;p130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26" name="Google Shape;8426;p13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427" name="Google Shape;8427;p13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428" name="Google Shape;8428;p13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429" name="Google Shape;8429;p130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30" name="Google Shape;8430;p130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31" name="Google Shape;8431;p130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432" name="Google Shape;8432;p13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2" name="Google Shape;872;p1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3" name="Google Shape;873;p1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4" name="Google Shape;874;p1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5" name="Google Shape;875;p1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6" name="Google Shape;876;p1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7" name="Google Shape;877;p1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8" name="Google Shape;878;p13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" name="Google Shape;879;p1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0" name="Google Shape;880;p1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1" name="Google Shape;881;p1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 3">
    <p:spTree>
      <p:nvGrpSpPr>
        <p:cNvPr id="1" name="Shape 8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34" name="Google Shape;8434;p1304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35" name="Google Shape;8435;p13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436" name="Google Shape;8436;p1304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437" name="Google Shape;8437;p1304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38" name="Google Shape;8438;p130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439" name="Google Shape;8439;p1304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0" name="Google Shape;8440;p1304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41" name="Google Shape;8441;p1304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2" name="Google Shape;8442;p1304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 2">
    <p:spTree>
      <p:nvGrpSpPr>
        <p:cNvPr id="1" name="Shape 8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44" name="Google Shape;8444;p1305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45" name="Google Shape;8445;p1305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46" name="Google Shape;8446;p1305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7" name="Google Shape;8447;p1305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8" name="Google Shape;8448;p13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449" name="Google Shape;8449;p1305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8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1" name="Google Shape;8451;p130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52" name="Google Shape;8452;p130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53" name="Google Shape;8453;p130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454" name="Google Shape;8454;p13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455" name="Google Shape;8455;p13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456" name="Google Shape;8456;p130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57" name="Google Shape;8457;p130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58" name="Google Shape;8458;p130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459" name="Google Shape;8459;p13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8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1" name="Google Shape;8461;p130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62" name="Google Shape;8462;p130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63" name="Google Shape;8463;p130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64" name="Google Shape;8464;p130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465" name="Google Shape;8465;p13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8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7" name="Google Shape;8467;p130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68" name="Google Shape;8468;p13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8469" name="Google Shape;8469;p130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70" name="Google Shape;8470;p130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71" name="Google Shape;8471;p130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8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73" name="Google Shape;8473;p130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74" name="Google Shape;8474;p130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75" name="Google Shape;8475;p130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76" name="Google Shape;8476;p130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77" name="Google Shape;8477;p130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478" name="Google Shape;8478;p13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 4">
    <p:spTree>
      <p:nvGrpSpPr>
        <p:cNvPr id="1" name="Shape 8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80" name="Google Shape;8480;p1035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81" name="Google Shape;8481;p10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482" name="Google Shape;8482;p1035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483" name="Google Shape;8483;p1035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84" name="Google Shape;8484;p1035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485" name="Google Shape;8485;p1035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86" name="Google Shape;8486;p1035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87" name="Google Shape;8487;p1035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88" name="Google Shape;8488;p1035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 3">
    <p:spTree>
      <p:nvGrpSpPr>
        <p:cNvPr id="1" name="Shape 8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0" name="Google Shape;8490;p1036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91" name="Google Shape;8491;p1036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92" name="Google Shape;8492;p1036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93" name="Google Shape;8493;p1036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94" name="Google Shape;8494;p10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495" name="Google Shape;8495;p1036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 2">
    <p:spTree>
      <p:nvGrpSpPr>
        <p:cNvPr id="1" name="Shape 8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7" name="Google Shape;8497;p103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98" name="Google Shape;8498;p103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99" name="Google Shape;8499;p103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00" name="Google Shape;8500;p10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501" name="Google Shape;8501;p10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502" name="Google Shape;8502;p103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03" name="Google Shape;8503;p103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04" name="Google Shape;8504;p103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505" name="Google Shape;8505;p10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 5">
    <p:spTree>
      <p:nvGrpSpPr>
        <p:cNvPr id="1" name="Shape 8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07" name="Google Shape;8507;p1038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508" name="Google Shape;8508;p10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509" name="Google Shape;8509;p1038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510" name="Google Shape;8510;p1038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511" name="Google Shape;8511;p1038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512" name="Google Shape;8512;p1038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3" name="Google Shape;8513;p1038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4" name="Google Shape;8514;p1038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5" name="Google Shape;8515;p1038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8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3" name="Google Shape;883;p1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4" name="Google Shape;884;p14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85" name="Google Shape;885;p1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6" name="Google Shape;886;p1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7" name="Google Shape;887;p1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8" name="Google Shape;888;p1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9" name="Google Shape;889;p1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0" name="Google Shape;890;p14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1" name="Google Shape;891;p14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2" name="Google Shape;892;p1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3" name="Google Shape;893;p1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 3">
    <p:spTree>
      <p:nvGrpSpPr>
        <p:cNvPr id="1" name="Shape 8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17" name="Google Shape;8517;p103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8" name="Google Shape;8518;p103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9" name="Google Shape;8519;p103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20" name="Google Shape;8520;p10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521" name="Google Shape;8521;p10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522" name="Google Shape;8522;p103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23" name="Google Shape;8523;p103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24" name="Google Shape;8524;p103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525" name="Google Shape;8525;p10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8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27" name="Google Shape;8527;p1040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28" name="Google Shape;8528;p1040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8529" name="Google Shape;8529;p10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30" name="Google Shape;8530;p10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531" name="Google Shape;8531;p10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8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33" name="Google Shape;8533;p1041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34" name="Google Shape;8534;p1041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8535" name="Google Shape;8535;p1041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8536" name="Google Shape;8536;p104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37" name="Google Shape;8537;p10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538" name="Google Shape;8538;p10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85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0" name="Google Shape;8540;p1042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41" name="Google Shape;8541;p1042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42" name="Google Shape;8542;p1042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43" name="Google Shape;8543;p1042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44" name="Google Shape;8544;p1042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45" name="Google Shape;8545;p1042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546" name="Google Shape;8546;p1042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47" name="Google Shape;8547;p1042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548" name="Google Shape;8548;p10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8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50" name="Google Shape;8550;p10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51" name="Google Shape;8551;p10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52" name="Google Shape;8552;p10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53" name="Google Shape;8553;p10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54" name="Google Shape;8554;p10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55" name="Google Shape;8555;p10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556" name="Google Shape;8556;p10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57" name="Google Shape;8557;p10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58" name="Google Shape;8558;p10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59" name="Google Shape;8559;p10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60" name="Google Shape;8560;p10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561" name="Google Shape;8561;p10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8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63" name="Google Shape;8563;p1044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64" name="Google Shape;8564;p1044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65" name="Google Shape;8565;p1044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66" name="Google Shape;8566;p1044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67" name="Google Shape;8567;p1044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68" name="Google Shape;8568;p1044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569" name="Google Shape;8569;p1044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70" name="Google Shape;8570;p1044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571" name="Google Shape;8571;p10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85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73" name="Google Shape;8573;p104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74" name="Google Shape;8574;p10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75" name="Google Shape;8575;p10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76" name="Google Shape;8576;p10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77" name="Google Shape;8577;p10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78" name="Google Shape;8578;p10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579" name="Google Shape;8579;p10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80" name="Google Shape;8580;p10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81" name="Google Shape;8581;p10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82" name="Google Shape;8582;p10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83" name="Google Shape;8583;p10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584" name="Google Shape;8584;p104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 2">
    <p:spTree>
      <p:nvGrpSpPr>
        <p:cNvPr id="1" name="Shape 8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86" name="Google Shape;8586;p1046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87" name="Google Shape;8587;p1046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88" name="Google Shape;8588;p1046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89" name="Google Shape;8589;p1046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90" name="Google Shape;8590;p1046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91" name="Google Shape;8591;p1046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592" name="Google Shape;8592;p1046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93" name="Google Shape;8593;p1046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594" name="Google Shape;8594;p10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85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6" name="Google Shape;8596;p104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97" name="Google Shape;8597;p104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98" name="Google Shape;8598;p104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599" name="Google Shape;8599;p104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600" name="Google Shape;8600;p104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601" name="Google Shape;8601;p10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02" name="Google Shape;8602;p104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03" name="Google Shape;8603;p10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8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05" name="Google Shape;8605;p104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606" name="Google Shape;8606;p104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07" name="Google Shape;8607;p10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08" name="Google Shape;8608;p104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09" name="Google Shape;8609;p10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610" name="Google Shape;8610;p104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11" name="Google Shape;8611;p104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5" name="Google Shape;895;p1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6" name="Google Shape;896;p1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7" name="Google Shape;897;p1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8" name="Google Shape;898;p1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9" name="Google Shape;899;p1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0" name="Google Shape;900;p14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1" name="Google Shape;901;p14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2" name="Google Shape;902;p14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3" name="Google Shape;903;p14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4" name="Google Shape;904;p14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5" name="Google Shape;905;p1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6" name="Google Shape;906;p1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7" name="Google Shape;907;p1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8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13" name="Google Shape;8613;p104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614" name="Google Shape;8614;p104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615" name="Google Shape;8615;p104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616" name="Google Shape;8616;p104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17" name="Google Shape;8617;p104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618" name="Google Shape;8618;p104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619" name="Google Shape;8619;p10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3">
    <p:spTree>
      <p:nvGrpSpPr>
        <p:cNvPr id="1" name="Shape 8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21" name="Google Shape;8621;p10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22" name="Google Shape;8622;p10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23" name="Google Shape;8623;p10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24" name="Google Shape;8624;p10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25" name="Google Shape;8625;p10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26" name="Google Shape;8626;p10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627" name="Google Shape;8627;p10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28" name="Google Shape;8628;p10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29" name="Google Shape;8629;p10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30" name="Google Shape;8630;p10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31" name="Google Shape;8631;p10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32" name="Google Shape;8632;p10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 3">
    <p:spTree>
      <p:nvGrpSpPr>
        <p:cNvPr id="1" name="Shape 8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34" name="Google Shape;8634;p1051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35" name="Google Shape;8635;p1051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36" name="Google Shape;8636;p1051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37" name="Google Shape;8637;p1051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38" name="Google Shape;8638;p1051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39" name="Google Shape;8639;p1051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640" name="Google Shape;8640;p1051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41" name="Google Shape;8641;p1051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642" name="Google Shape;8642;p10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 2">
    <p:spTree>
      <p:nvGrpSpPr>
        <p:cNvPr id="1" name="Shape 8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44" name="Google Shape;8644;p105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45" name="Google Shape;8645;p105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46" name="Google Shape;8646;p105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647" name="Google Shape;8647;p10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648" name="Google Shape;8648;p105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649" name="Google Shape;8649;p10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50" name="Google Shape;8650;p105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51" name="Google Shape;8651;p10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 2">
    <p:bg>
      <p:bgPr>
        <a:solidFill>
          <a:schemeClr val="lt2"/>
        </a:solidFill>
        <a:effectLst/>
      </p:bgPr>
    </p:bg>
    <p:spTree>
      <p:nvGrpSpPr>
        <p:cNvPr id="1" name="Shape 8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53" name="Google Shape;8653;p105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654" name="Google Shape;8654;p105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55" name="Google Shape;8655;p105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56" name="Google Shape;8656;p105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57" name="Google Shape;8657;p10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658" name="Google Shape;8658;p105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59" name="Google Shape;8659;p105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 2">
    <p:spTree>
      <p:nvGrpSpPr>
        <p:cNvPr id="1" name="Shape 8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61" name="Google Shape;8661;p10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662" name="Google Shape;8662;p10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663" name="Google Shape;8663;p10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664" name="Google Shape;8664;p10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65" name="Google Shape;8665;p10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666" name="Google Shape;8666;p10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667" name="Google Shape;8667;p10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4">
    <p:spTree>
      <p:nvGrpSpPr>
        <p:cNvPr id="1" name="Shape 8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69" name="Google Shape;8669;p10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70" name="Google Shape;8670;p10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71" name="Google Shape;8671;p10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72" name="Google Shape;8672;p10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73" name="Google Shape;8673;p10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74" name="Google Shape;8674;p10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675" name="Google Shape;8675;p10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76" name="Google Shape;8676;p10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77" name="Google Shape;8677;p10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78" name="Google Shape;8678;p10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79" name="Google Shape;8679;p10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80" name="Google Shape;8680;p10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5">
    <p:spTree>
      <p:nvGrpSpPr>
        <p:cNvPr id="1" name="Shape 8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82" name="Google Shape;8682;p105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83" name="Google Shape;8683;p105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84" name="Google Shape;8684;p105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85" name="Google Shape;8685;p10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86" name="Google Shape;8686;p10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87" name="Google Shape;8687;p10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688" name="Google Shape;8688;p10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89" name="Google Shape;8689;p10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90" name="Google Shape;8690;p10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91" name="Google Shape;8691;p10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92" name="Google Shape;8692;p10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93" name="Google Shape;8693;p105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 4">
    <p:spTree>
      <p:nvGrpSpPr>
        <p:cNvPr id="1" name="Shape 8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5" name="Google Shape;8695;p1057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96" name="Google Shape;8696;p1057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97" name="Google Shape;8697;p105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98" name="Google Shape;8698;p1057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99" name="Google Shape;8699;p105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00" name="Google Shape;8700;p105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01" name="Google Shape;8701;p1057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02" name="Google Shape;8702;p105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703" name="Google Shape;8703;p10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 3">
    <p:spTree>
      <p:nvGrpSpPr>
        <p:cNvPr id="1" name="Shape 8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5" name="Google Shape;8705;p105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06" name="Google Shape;8706;p105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07" name="Google Shape;8707;p105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708" name="Google Shape;8708;p10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709" name="Google Shape;8709;p105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710" name="Google Shape;8710;p105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11" name="Google Shape;8711;p105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712" name="Google Shape;8712;p10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9" name="Google Shape;909;p14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10" name="Google Shape;910;p14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11" name="Google Shape;911;p14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12" name="Google Shape;912;p14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3" name="Google Shape;913;p14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14" name="Google Shape;914;p14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15" name="Google Shape;915;p1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 3">
    <p:bg>
      <p:bgPr>
        <a:solidFill>
          <a:schemeClr val="lt2"/>
        </a:solidFill>
        <a:effectLst/>
      </p:bgPr>
    </p:bg>
    <p:spTree>
      <p:nvGrpSpPr>
        <p:cNvPr id="1" name="Shape 8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14" name="Google Shape;8714;p105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715" name="Google Shape;8715;p105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16" name="Google Shape;8716;p10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17" name="Google Shape;8717;p105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718" name="Google Shape;8718;p10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719" name="Google Shape;8719;p105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20" name="Google Shape;8720;p105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 3">
    <p:spTree>
      <p:nvGrpSpPr>
        <p:cNvPr id="1" name="Shape 87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22" name="Google Shape;8722;p106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23" name="Google Shape;8723;p106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724" name="Google Shape;8724;p106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725" name="Google Shape;8725;p106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26" name="Google Shape;8726;p106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727" name="Google Shape;8727;p106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728" name="Google Shape;8728;p10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8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30" name="Google Shape;8730;p10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31" name="Google Shape;8731;p10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32" name="Google Shape;8732;p10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733" name="Google Shape;8733;p10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34" name="Google Shape;8734;p10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35" name="Google Shape;8735;p10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36" name="Google Shape;8736;p10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37" name="Google Shape;8737;p10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8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39" name="Google Shape;8739;p10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40" name="Google Shape;8740;p10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41" name="Google Shape;8741;p10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42" name="Google Shape;8742;p10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43" name="Google Shape;8743;p10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44" name="Google Shape;8744;p10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745" name="Google Shape;8745;p10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46" name="Google Shape;8746;p10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47" name="Google Shape;8747;p10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48" name="Google Shape;8748;p10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49" name="Google Shape;8749;p10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50" name="Google Shape;8750;p10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 2">
    <p:spTree>
      <p:nvGrpSpPr>
        <p:cNvPr id="1" name="Shape 8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52" name="Google Shape;8752;p10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53" name="Google Shape;8753;p10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54" name="Google Shape;8754;p10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755" name="Google Shape;8755;p10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56" name="Google Shape;8756;p10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57" name="Google Shape;8757;p10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58" name="Google Shape;8758;p10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59" name="Google Shape;8759;p10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 2">
    <p:spTree>
      <p:nvGrpSpPr>
        <p:cNvPr id="1" name="Shape 87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61" name="Google Shape;8761;p10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62" name="Google Shape;8762;p10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63" name="Google Shape;8763;p10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64" name="Google Shape;8764;p10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65" name="Google Shape;8765;p10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66" name="Google Shape;8766;p10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767" name="Google Shape;8767;p10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68" name="Google Shape;8768;p10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69" name="Google Shape;8769;p10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70" name="Google Shape;8770;p10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71" name="Google Shape;8771;p10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72" name="Google Shape;8772;p10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87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4" name="Google Shape;8774;p10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75" name="Google Shape;8775;p10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776" name="Google Shape;8776;p10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77" name="Google Shape;8777;p10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78" name="Google Shape;8778;p10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79" name="Google Shape;8779;p10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80" name="Google Shape;8780;p10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81" name="Google Shape;8781;p106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82" name="Google Shape;8782;p106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83" name="Google Shape;8783;p10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84" name="Google Shape;8784;p10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87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86" name="Google Shape;8786;p10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87" name="Google Shape;8787;p10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88" name="Google Shape;8788;p10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89" name="Google Shape;8789;p10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90" name="Google Shape;8790;p10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91" name="Google Shape;8791;p10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92" name="Google Shape;8792;p106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793" name="Google Shape;8793;p106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4" name="Google Shape;8794;p106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795" name="Google Shape;8795;p106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6" name="Google Shape;8796;p10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97" name="Google Shape;8797;p10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98" name="Google Shape;8798;p10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8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00" name="Google Shape;8800;p10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01" name="Google Shape;8801;p10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02" name="Google Shape;8802;p10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03" name="Google Shape;8803;p10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04" name="Google Shape;8804;p10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805" name="Google Shape;8805;p10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06" name="Google Shape;8806;p10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07" name="Google Shape;8807;p10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08" name="Google Shape;8808;p10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8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10" name="Google Shape;8810;p106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811" name="Google Shape;8811;p106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12" name="Google Shape;8812;p106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13" name="Google Shape;8813;p106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14" name="Google Shape;8814;p106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15" name="Google Shape;8815;p106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816" name="Google Shape;8816;p10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817" name="Google Shape;8817;p10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" name="Google Shape;917;p1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8" name="Google Shape;918;p1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" name="Google Shape;919;p1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0" name="Google Shape;920;p1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1" name="Google Shape;921;p1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2" name="Google Shape;922;p1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3" name="Google Shape;923;p1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4" name="Google Shape;924;p1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5" name="Google Shape;925;p1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6" name="Google Shape;926;p1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7" name="Google Shape;927;p1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8" name="Google Shape;928;p1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88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19" name="Google Shape;8819;p10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20" name="Google Shape;8820;p10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21" name="Google Shape;8821;p10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822" name="Google Shape;8822;p10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23" name="Google Shape;8823;p10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24" name="Google Shape;8824;p10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25" name="Google Shape;8825;p10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26" name="Google Shape;8826;p10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 2">
    <p:spTree>
      <p:nvGrpSpPr>
        <p:cNvPr id="1" name="Shape 8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28" name="Google Shape;8828;p10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29" name="Google Shape;8829;p10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30" name="Google Shape;8830;p10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31" name="Google Shape;8831;p10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32" name="Google Shape;8832;p10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33" name="Google Shape;8833;p10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834" name="Google Shape;8834;p10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35" name="Google Shape;8835;p10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36" name="Google Shape;8836;p10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37" name="Google Shape;8837;p10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38" name="Google Shape;8838;p10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39" name="Google Shape;8839;p10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3">
    <p:spTree>
      <p:nvGrpSpPr>
        <p:cNvPr id="1" name="Shape 8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1" name="Google Shape;8841;p1071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42" name="Google Shape;8842;p1071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8843" name="Google Shape;8843;p1071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8844" name="Google Shape;8844;p1071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45" name="Google Shape;8845;p1071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8846" name="Google Shape;8846;p10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8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8" name="Google Shape;8848;p107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49" name="Google Shape;8849;p107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50" name="Google Shape;8850;p107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851" name="Google Shape;8851;p10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852" name="Google Shape;8852;p107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853" name="Google Shape;8853;p107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54" name="Google Shape;8854;p107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855" name="Google Shape;8855;p10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8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57" name="Google Shape;8857;p107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858" name="Google Shape;8858;p107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59" name="Google Shape;8859;p107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60" name="Google Shape;8860;p107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861" name="Google Shape;8861;p10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862" name="Google Shape;8862;p107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63" name="Google Shape;8863;p107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8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5" name="Google Shape;8865;p107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66" name="Google Shape;8866;p107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867" name="Google Shape;8867;p107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868" name="Google Shape;8868;p107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69" name="Google Shape;8869;p107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70" name="Google Shape;8870;p107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871" name="Google Shape;8871;p10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88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3" name="Google Shape;8873;p10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74" name="Google Shape;8874;p10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75" name="Google Shape;8875;p10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76" name="Google Shape;8876;p10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77" name="Google Shape;8877;p10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78" name="Google Shape;8878;p10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879" name="Google Shape;8879;p10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80" name="Google Shape;8880;p10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81" name="Google Shape;8881;p10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82" name="Google Shape;8882;p10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83" name="Google Shape;8883;p10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84" name="Google Shape;8884;p10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8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86" name="Google Shape;8886;p10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87" name="Google Shape;8887;p10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88" name="Google Shape;8888;p10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89" name="Google Shape;8889;p10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90" name="Google Shape;8890;p10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91" name="Google Shape;8891;p10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892" name="Google Shape;8892;p10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93" name="Google Shape;8893;p10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94" name="Google Shape;8894;p10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95" name="Google Shape;8895;p10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96" name="Google Shape;8896;p10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97" name="Google Shape;8897;p107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">
    <p:spTree>
      <p:nvGrpSpPr>
        <p:cNvPr id="1" name="Shape 8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99" name="Google Shape;8899;p10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00" name="Google Shape;8900;p10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01" name="Google Shape;8901;p10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02" name="Google Shape;8902;p10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03" name="Google Shape;8903;p10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04" name="Google Shape;8904;p10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05" name="Google Shape;8905;p107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06" name="Google Shape;8906;p10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07" name="Google Shape;8907;p10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08" name="Google Shape;8908;p10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8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10" name="Google Shape;8910;p107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11" name="Google Shape;8911;p107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912" name="Google Shape;8912;p10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13" name="Google Shape;8913;p10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14" name="Google Shape;8914;p10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15" name="Google Shape;8915;p10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16" name="Google Shape;8916;p10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17" name="Google Shape;8917;p107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18" name="Google Shape;8918;p107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19" name="Google Shape;8919;p10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20" name="Google Shape;8920;p10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9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0" name="Google Shape;930;p14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31" name="Google Shape;931;p14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2" name="Google Shape;932;p14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3" name="Google Shape;933;p14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4" name="Google Shape;934;p14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" name="Google Shape;935;p14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36" name="Google Shape;936;p1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37" name="Google Shape;937;p1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8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22" name="Google Shape;8922;p10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23" name="Google Shape;8923;p10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24" name="Google Shape;8924;p10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25" name="Google Shape;8925;p10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26" name="Google Shape;8926;p10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27" name="Google Shape;8927;p10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28" name="Google Shape;8928;p107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29" name="Google Shape;8929;p107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30" name="Google Shape;8930;p107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31" name="Google Shape;8931;p107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32" name="Google Shape;8932;p10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33" name="Google Shape;8933;p10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34" name="Google Shape;8934;p10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8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36" name="Google Shape;8936;p10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37" name="Google Shape;8937;p10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38" name="Google Shape;8938;p10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39" name="Google Shape;8939;p10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40" name="Google Shape;8940;p10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41" name="Google Shape;8941;p10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42" name="Google Shape;8942;p10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43" name="Google Shape;8943;p10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44" name="Google Shape;8944;p10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89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46" name="Google Shape;8946;p108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947" name="Google Shape;8947;p108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48" name="Google Shape;8948;p108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949" name="Google Shape;8949;p108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50" name="Google Shape;8950;p108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51" name="Google Shape;8951;p108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952" name="Google Shape;8952;p10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953" name="Google Shape;8953;p10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8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5" name="Google Shape;8955;p10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56" name="Google Shape;8956;p10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57" name="Google Shape;8957;p10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958" name="Google Shape;8958;p10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59" name="Google Shape;8959;p10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60" name="Google Shape;8960;p10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61" name="Google Shape;8961;p10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62" name="Google Shape;8962;p10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 3">
    <p:spTree>
      <p:nvGrpSpPr>
        <p:cNvPr id="1" name="Shape 8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4" name="Google Shape;8964;p108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65" name="Google Shape;8965;p108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66" name="Google Shape;8966;p108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67" name="Google Shape;8967;p10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68" name="Google Shape;8968;p10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69" name="Google Shape;8969;p10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970" name="Google Shape;8970;p10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71" name="Google Shape;8971;p10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72" name="Google Shape;8972;p10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73" name="Google Shape;8973;p10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74" name="Google Shape;8974;p10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975" name="Google Shape;8975;p108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 2">
    <p:spTree>
      <p:nvGrpSpPr>
        <p:cNvPr id="1" name="Shape 89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77" name="Google Shape;8977;p10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78" name="Google Shape;8978;p108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979" name="Google Shape;8979;p10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80" name="Google Shape;8980;p10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81" name="Google Shape;8981;p10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82" name="Google Shape;8982;p10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83" name="Google Shape;8983;p10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84" name="Google Shape;8984;p108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85" name="Google Shape;8985;p108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86" name="Google Shape;8986;p10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87" name="Google Shape;8987;p10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 2">
    <p:spTree>
      <p:nvGrpSpPr>
        <p:cNvPr id="1" name="Shape 89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89" name="Google Shape;8989;p10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90" name="Google Shape;8990;p10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91" name="Google Shape;8991;p10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92" name="Google Shape;8992;p10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93" name="Google Shape;8993;p10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94" name="Google Shape;8994;p108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95" name="Google Shape;8995;p108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96" name="Google Shape;8996;p108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97" name="Google Shape;8997;p108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98" name="Google Shape;8998;p108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99" name="Google Shape;8999;p10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00" name="Google Shape;9000;p10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01" name="Google Shape;9001;p10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 2">
    <p:spTree>
      <p:nvGrpSpPr>
        <p:cNvPr id="1" name="Shape 9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03" name="Google Shape;9003;p10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04" name="Google Shape;9004;p10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05" name="Google Shape;9005;p10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06" name="Google Shape;9006;p10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07" name="Google Shape;9007;p10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08" name="Google Shape;9008;p10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09" name="Google Shape;9009;p10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10" name="Google Shape;9010;p10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11" name="Google Shape;9011;p10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 2">
    <p:spTree>
      <p:nvGrpSpPr>
        <p:cNvPr id="1" name="Shape 90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13" name="Google Shape;9013;p108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014" name="Google Shape;9014;p108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15" name="Google Shape;9015;p108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016" name="Google Shape;9016;p108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17" name="Google Shape;9017;p108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18" name="Google Shape;9018;p108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019" name="Google Shape;9019;p10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020" name="Google Shape;9020;p10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 2">
    <p:spTree>
      <p:nvGrpSpPr>
        <p:cNvPr id="1" name="Shape 9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22" name="Google Shape;9022;p10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23" name="Google Shape;9023;p10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24" name="Google Shape;9024;p10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025" name="Google Shape;9025;p10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26" name="Google Shape;9026;p10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27" name="Google Shape;9027;p10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28" name="Google Shape;9028;p10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29" name="Google Shape;9029;p10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9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9" name="Google Shape;939;p1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0" name="Google Shape;940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1" name="Google Shape;941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2" name="Google Shape;942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3" name="Google Shape;943;p1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4" name="Google Shape;944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5" name="Google Shape;945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6" name="Google Shape;946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 3">
    <p:spTree>
      <p:nvGrpSpPr>
        <p:cNvPr id="1" name="Shape 90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31" name="Google Shape;9031;p10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32" name="Google Shape;9032;p10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33" name="Google Shape;9033;p10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34" name="Google Shape;9034;p10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35" name="Google Shape;9035;p10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36" name="Google Shape;9036;p10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037" name="Google Shape;9037;p10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38" name="Google Shape;9038;p10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39" name="Google Shape;9039;p10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40" name="Google Shape;9040;p10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41" name="Google Shape;9041;p10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42" name="Google Shape;9042;p10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 2">
    <p:spTree>
      <p:nvGrpSpPr>
        <p:cNvPr id="1" name="Shape 9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4" name="Google Shape;9044;p109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45" name="Google Shape;9045;p109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46" name="Google Shape;9046;p109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047" name="Google Shape;9047;p109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048" name="Google Shape;9048;p109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049" name="Google Shape;9049;p10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50" name="Google Shape;9050;p109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051" name="Google Shape;9051;p10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 2">
    <p:bg>
      <p:bgPr>
        <a:solidFill>
          <a:schemeClr val="lt2"/>
        </a:solidFill>
        <a:effectLst/>
      </p:bgPr>
    </p:bg>
    <p:spTree>
      <p:nvGrpSpPr>
        <p:cNvPr id="1" name="Shape 90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53" name="Google Shape;9053;p109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054" name="Google Shape;9054;p109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55" name="Google Shape;9055;p10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56" name="Google Shape;9056;p109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057" name="Google Shape;9057;p10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058" name="Google Shape;9058;p109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59" name="Google Shape;9059;p109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 2">
    <p:spTree>
      <p:nvGrpSpPr>
        <p:cNvPr id="1" name="Shape 9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1" name="Google Shape;9061;p109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062" name="Google Shape;9062;p109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063" name="Google Shape;9063;p109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64" name="Google Shape;9064;p109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65" name="Google Shape;9065;p109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066" name="Google Shape;9066;p109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067" name="Google Shape;9067;p10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 2">
    <p:spTree>
      <p:nvGrpSpPr>
        <p:cNvPr id="1" name="Shape 90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9" name="Google Shape;9069;p10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70" name="Google Shape;9070;p10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71" name="Google Shape;9071;p10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72" name="Google Shape;9072;p10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73" name="Google Shape;9073;p10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74" name="Google Shape;9074;p10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075" name="Google Shape;9075;p10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76" name="Google Shape;9076;p10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77" name="Google Shape;9077;p10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78" name="Google Shape;9078;p10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79" name="Google Shape;9079;p10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80" name="Google Shape;9080;p109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 2">
    <p:spTree>
      <p:nvGrpSpPr>
        <p:cNvPr id="1" name="Shape 90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82" name="Google Shape;9082;p109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83" name="Google Shape;9083;p10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84" name="Google Shape;9084;p10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85" name="Google Shape;9085;p10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86" name="Google Shape;9086;p10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87" name="Google Shape;9087;p10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088" name="Google Shape;9088;p10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89" name="Google Shape;9089;p10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90" name="Google Shape;9090;p10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91" name="Google Shape;9091;p10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92" name="Google Shape;9092;p10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93" name="Google Shape;9093;p109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 2">
    <p:spTree>
      <p:nvGrpSpPr>
        <p:cNvPr id="1" name="Shape 9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95" name="Google Shape;9095;p10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96" name="Google Shape;9096;p10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97" name="Google Shape;9097;p10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98" name="Google Shape;9098;p10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99" name="Google Shape;9099;p10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00" name="Google Shape;9100;p10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01" name="Google Shape;9101;p10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02" name="Google Shape;9102;p10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03" name="Google Shape;9103;p10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04" name="Google Shape;9104;p10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 2">
    <p:spTree>
      <p:nvGrpSpPr>
        <p:cNvPr id="1" name="Shape 9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6" name="Google Shape;9106;p10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07" name="Google Shape;9107;p109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108" name="Google Shape;9108;p10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09" name="Google Shape;9109;p10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10" name="Google Shape;9110;p10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11" name="Google Shape;9111;p10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12" name="Google Shape;9112;p10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13" name="Google Shape;9113;p109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14" name="Google Shape;9114;p109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15" name="Google Shape;9115;p10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16" name="Google Shape;9116;p10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 2">
    <p:spTree>
      <p:nvGrpSpPr>
        <p:cNvPr id="1" name="Shape 9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18" name="Google Shape;9118;p10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19" name="Google Shape;9119;p10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20" name="Google Shape;9120;p10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21" name="Google Shape;9121;p10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22" name="Google Shape;9122;p10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23" name="Google Shape;9123;p10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24" name="Google Shape;9124;p109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25" name="Google Shape;9125;p109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26" name="Google Shape;9126;p109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27" name="Google Shape;9127;p109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28" name="Google Shape;9128;p10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29" name="Google Shape;9129;p10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30" name="Google Shape;9130;p10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 2">
    <p:spTree>
      <p:nvGrpSpPr>
        <p:cNvPr id="1" name="Shape 9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32" name="Google Shape;9132;p10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33" name="Google Shape;9133;p10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34" name="Google Shape;9134;p10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35" name="Google Shape;9135;p10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36" name="Google Shape;9136;p10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37" name="Google Shape;9137;p10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38" name="Google Shape;9138;p10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39" name="Google Shape;9139;p10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40" name="Google Shape;9140;p10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oogle Shape;101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" name="Google Shape;102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" name="Google Shape;103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" name="Google Shape;104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" name="Google Shape;106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" name="Google Shape;108;p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" name="Google Shape;109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" name="Google Shape;110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8" name="Google Shape;948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9" name="Google Shape;949;p1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0" name="Google Shape;950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1" name="Google Shape;951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2" name="Google Shape;952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3" name="Google Shape;953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4" name="Google Shape;954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5" name="Google Shape;955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6" name="Google Shape;956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 2">
    <p:spTree>
      <p:nvGrpSpPr>
        <p:cNvPr id="1" name="Shape 9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42" name="Google Shape;9142;p109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143" name="Google Shape;9143;p109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44" name="Google Shape;9144;p109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145" name="Google Shape;9145;p109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46" name="Google Shape;9146;p109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47" name="Google Shape;9147;p109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148" name="Google Shape;9148;p10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149" name="Google Shape;9149;p10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 2">
    <p:spTree>
      <p:nvGrpSpPr>
        <p:cNvPr id="1" name="Shape 9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1" name="Google Shape;9151;p11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52" name="Google Shape;9152;p11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53" name="Google Shape;9153;p11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154" name="Google Shape;9154;p11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55" name="Google Shape;9155;p11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56" name="Google Shape;9156;p11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57" name="Google Shape;9157;p11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58" name="Google Shape;9158;p11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 4">
    <p:spTree>
      <p:nvGrpSpPr>
        <p:cNvPr id="1" name="Shape 9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60" name="Google Shape;9160;p11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61" name="Google Shape;9161;p11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62" name="Google Shape;9162;p11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63" name="Google Shape;9163;p1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64" name="Google Shape;9164;p1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65" name="Google Shape;9165;p1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166" name="Google Shape;9166;p1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67" name="Google Shape;9167;p11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68" name="Google Shape;9168;p1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69" name="Google Shape;9169;p1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70" name="Google Shape;9170;p1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171" name="Google Shape;9171;p11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 3">
    <p:spTree>
      <p:nvGrpSpPr>
        <p:cNvPr id="1" name="Shape 9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3" name="Google Shape;9173;p11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74" name="Google Shape;9174;p11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175" name="Google Shape;9175;p11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76" name="Google Shape;9176;p11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77" name="Google Shape;9177;p1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78" name="Google Shape;9178;p1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79" name="Google Shape;9179;p1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80" name="Google Shape;9180;p11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81" name="Google Shape;9181;p11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82" name="Google Shape;9182;p1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83" name="Google Shape;9183;p1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 3">
    <p:spTree>
      <p:nvGrpSpPr>
        <p:cNvPr id="1" name="Shape 9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85" name="Google Shape;9185;p1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86" name="Google Shape;9186;p11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87" name="Google Shape;9187;p1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88" name="Google Shape;9188;p1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89" name="Google Shape;9189;p1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90" name="Google Shape;9190;p1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1" name="Google Shape;9191;p110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92" name="Google Shape;9192;p110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93" name="Google Shape;9193;p110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94" name="Google Shape;9194;p110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95" name="Google Shape;9195;p1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96" name="Google Shape;9196;p1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97" name="Google Shape;9197;p1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 3">
    <p:spTree>
      <p:nvGrpSpPr>
        <p:cNvPr id="1" name="Shape 9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99" name="Google Shape;9199;p11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00" name="Google Shape;9200;p11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01" name="Google Shape;9201;p11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02" name="Google Shape;9202;p11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03" name="Google Shape;9203;p11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04" name="Google Shape;9204;p11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05" name="Google Shape;9205;p11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06" name="Google Shape;9206;p11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07" name="Google Shape;9207;p11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 3">
    <p:spTree>
      <p:nvGrpSpPr>
        <p:cNvPr id="1" name="Shape 9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09" name="Google Shape;9209;p110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210" name="Google Shape;9210;p110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11" name="Google Shape;9211;p110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12" name="Google Shape;9212;p110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13" name="Google Shape;9213;p110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14" name="Google Shape;9214;p110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215" name="Google Shape;9215;p11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216" name="Google Shape;9216;p110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 3">
    <p:spTree>
      <p:nvGrpSpPr>
        <p:cNvPr id="1" name="Shape 9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Google Shape;9218;p11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19" name="Google Shape;9219;p11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20" name="Google Shape;9220;p11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221" name="Google Shape;9221;p11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22" name="Google Shape;9222;p1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23" name="Google Shape;9223;p11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24" name="Google Shape;9224;p11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25" name="Google Shape;9225;p11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 4">
    <p:spTree>
      <p:nvGrpSpPr>
        <p:cNvPr id="1" name="Shape 9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7" name="Google Shape;9227;p131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28" name="Google Shape;9228;p13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29" name="Google Shape;9229;p13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30" name="Google Shape;9230;p13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31" name="Google Shape;9231;p13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32" name="Google Shape;9232;p13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233" name="Google Shape;9233;p13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34" name="Google Shape;9234;p13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35" name="Google Shape;9235;p13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36" name="Google Shape;9236;p13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37" name="Google Shape;9237;p13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38" name="Google Shape;9238;p131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 3">
    <p:spTree>
      <p:nvGrpSpPr>
        <p:cNvPr id="1" name="Shape 9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40" name="Google Shape;9240;p110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41" name="Google Shape;9241;p110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42" name="Google Shape;9242;p110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243" name="Google Shape;9243;p110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244" name="Google Shape;9244;p110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245" name="Google Shape;9245;p11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46" name="Google Shape;9246;p110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247" name="Google Shape;9247;p11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" name="Google Shape;958;p14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9" name="Google Shape;959;p14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0" name="Google Shape;960;p14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61" name="Google Shape;961;p14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62" name="Google Shape;962;p14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63" name="Google Shape;963;p1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4" name="Google Shape;964;p14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65" name="Google Shape;965;p1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 3">
    <p:bg>
      <p:bgPr>
        <a:solidFill>
          <a:schemeClr val="lt2"/>
        </a:solidFill>
        <a:effectLst/>
      </p:bgPr>
    </p:bg>
    <p:spTree>
      <p:nvGrpSpPr>
        <p:cNvPr id="1" name="Shape 9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49" name="Google Shape;9249;p110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250" name="Google Shape;9250;p110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51" name="Google Shape;9251;p11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52" name="Google Shape;9252;p110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253" name="Google Shape;9253;p11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54" name="Google Shape;9254;p110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55" name="Google Shape;9255;p110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 3">
    <p:spTree>
      <p:nvGrpSpPr>
        <p:cNvPr id="1" name="Shape 9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57" name="Google Shape;9257;p111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258" name="Google Shape;9258;p111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259" name="Google Shape;9259;p111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260" name="Google Shape;9260;p111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61" name="Google Shape;9261;p111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62" name="Google Shape;9262;p111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263" name="Google Shape;9263;p11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 3">
    <p:spTree>
      <p:nvGrpSpPr>
        <p:cNvPr id="1" name="Shape 9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5" name="Google Shape;9265;p11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66" name="Google Shape;9266;p11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67" name="Google Shape;9267;p11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68" name="Google Shape;9268;p1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69" name="Google Shape;9269;p1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70" name="Google Shape;9270;p1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271" name="Google Shape;9271;p1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72" name="Google Shape;9272;p1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3" name="Google Shape;9273;p1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74" name="Google Shape;9274;p1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75" name="Google Shape;9275;p1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76" name="Google Shape;9276;p11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 3">
    <p:spTree>
      <p:nvGrpSpPr>
        <p:cNvPr id="1" name="Shape 9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8" name="Google Shape;9278;p11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79" name="Google Shape;9279;p11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80" name="Google Shape;9280;p11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81" name="Google Shape;9281;p11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82" name="Google Shape;9282;p1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83" name="Google Shape;9283;p1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284" name="Google Shape;9284;p1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85" name="Google Shape;9285;p1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86" name="Google Shape;9286;p1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87" name="Google Shape;9287;p1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88" name="Google Shape;9288;p1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89" name="Google Shape;9289;p11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 3">
    <p:spTree>
      <p:nvGrpSpPr>
        <p:cNvPr id="1" name="Shape 9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91" name="Google Shape;9291;p1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92" name="Google Shape;9292;p1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93" name="Google Shape;9293;p1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94" name="Google Shape;9294;p1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5" name="Google Shape;9295;p1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96" name="Google Shape;9296;p11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97" name="Google Shape;9297;p11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98" name="Google Shape;9298;p1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99" name="Google Shape;9299;p1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00" name="Google Shape;9300;p1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 3">
    <p:spTree>
      <p:nvGrpSpPr>
        <p:cNvPr id="1" name="Shape 9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02" name="Google Shape;9302;p13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03" name="Google Shape;9303;p131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304" name="Google Shape;9304;p13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05" name="Google Shape;9305;p13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06" name="Google Shape;9306;p13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07" name="Google Shape;9307;p13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08" name="Google Shape;9308;p13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09" name="Google Shape;9309;p131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10" name="Google Shape;9310;p131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11" name="Google Shape;9311;p13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12" name="Google Shape;9312;p13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 3">
    <p:spTree>
      <p:nvGrpSpPr>
        <p:cNvPr id="1" name="Shape 9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14" name="Google Shape;9314;p11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15" name="Google Shape;9315;p11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16" name="Google Shape;9316;p11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17" name="Google Shape;9317;p11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18" name="Google Shape;9318;p11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19" name="Google Shape;9319;p11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20" name="Google Shape;9320;p111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321" name="Google Shape;9321;p111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22" name="Google Shape;9322;p11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323" name="Google Shape;9323;p11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24" name="Google Shape;9324;p11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25" name="Google Shape;9325;p11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26" name="Google Shape;9326;p1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 3">
    <p:spTree>
      <p:nvGrpSpPr>
        <p:cNvPr id="1" name="Shape 9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28" name="Google Shape;9328;p11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29" name="Google Shape;9329;p11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30" name="Google Shape;9330;p11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31" name="Google Shape;9331;p11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32" name="Google Shape;9332;p11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33" name="Google Shape;9333;p11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34" name="Google Shape;9334;p1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35" name="Google Shape;9335;p11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36" name="Google Shape;9336;p1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 3">
    <p:spTree>
      <p:nvGrpSpPr>
        <p:cNvPr id="1" name="Shape 9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38" name="Google Shape;9338;p111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339" name="Google Shape;9339;p111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40" name="Google Shape;9340;p111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41" name="Google Shape;9341;p111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42" name="Google Shape;9342;p111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43" name="Google Shape;9343;p111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344" name="Google Shape;9344;p11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345" name="Google Shape;9345;p11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 3">
    <p:spTree>
      <p:nvGrpSpPr>
        <p:cNvPr id="1" name="Shape 9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47" name="Google Shape;9347;p13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48" name="Google Shape;9348;p13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49" name="Google Shape;9349;p13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350" name="Google Shape;9350;p13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51" name="Google Shape;9351;p13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52" name="Google Shape;9352;p13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53" name="Google Shape;9353;p13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54" name="Google Shape;9354;p13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9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7" name="Google Shape;967;p121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68" name="Google Shape;968;p121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9" name="Google Shape;969;p121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0" name="Google Shape;970;p121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71" name="Google Shape;971;p12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72" name="Google Shape;972;p121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3" name="Google Shape;973;p121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 2">
    <p:bg>
      <p:bgPr>
        <a:solidFill>
          <a:schemeClr val="lt1"/>
        </a:solidFill>
        <a:effectLst/>
      </p:bgPr>
    </p:bg>
    <p:spTree>
      <p:nvGrpSpPr>
        <p:cNvPr id="1" name="Shape 9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56" name="Google Shape;9356;p1119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57" name="Google Shape;9357;p1119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58" name="Google Shape;9358;p11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359" name="Google Shape;9359;p11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60" name="Google Shape;9360;p11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361" name="Google Shape;9361;p1119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62" name="Google Shape;9362;p1119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63" name="Google Shape;9363;p1119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64" name="Google Shape;9364;p11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9365" name="Google Shape;9365;p111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366" name="Google Shape;9366;p11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2">
    <p:spTree>
      <p:nvGrpSpPr>
        <p:cNvPr id="1" name="Shape 9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68" name="Google Shape;9368;p13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69" name="Google Shape;9369;p13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70" name="Google Shape;9370;p13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71" name="Google Shape;9371;p13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72" name="Google Shape;9372;p13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73" name="Google Shape;9373;p13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374" name="Google Shape;9374;p13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75" name="Google Shape;9375;p13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76" name="Google Shape;9376;p13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77" name="Google Shape;9377;p13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78" name="Google Shape;9378;p13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79" name="Google Shape;9379;p13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3">
    <p:spTree>
      <p:nvGrpSpPr>
        <p:cNvPr id="1" name="Shape 9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81" name="Google Shape;9381;p11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82" name="Google Shape;9382;p11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83" name="Google Shape;9383;p11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84" name="Google Shape;9384;p11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85" name="Google Shape;9385;p11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86" name="Google Shape;9386;p1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387" name="Google Shape;9387;p11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88" name="Google Shape;9388;p11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89" name="Google Shape;9389;p11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90" name="Google Shape;9390;p11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91" name="Google Shape;9391;p11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92" name="Google Shape;9392;p11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 3">
    <p:bg>
      <p:bgPr>
        <a:solidFill>
          <a:schemeClr val="lt1"/>
        </a:solidFill>
        <a:effectLst/>
      </p:bgPr>
    </p:bg>
    <p:spTree>
      <p:nvGrpSpPr>
        <p:cNvPr id="1" name="Shape 9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94" name="Google Shape;9394;p112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95" name="Google Shape;9395;p1122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96" name="Google Shape;9396;p11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397" name="Google Shape;9397;p1122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98" name="Google Shape;9398;p112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399" name="Google Shape;9399;p1122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00" name="Google Shape;9400;p1122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01" name="Google Shape;9401;p1122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02" name="Google Shape;9402;p1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9403" name="Google Shape;9403;p112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404" name="Google Shape;9404;p11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4">
    <p:spTree>
      <p:nvGrpSpPr>
        <p:cNvPr id="1" name="Shape 9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06" name="Google Shape;9406;p11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07" name="Google Shape;9407;p11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08" name="Google Shape;9408;p11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09" name="Google Shape;9409;p11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10" name="Google Shape;9410;p11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11" name="Google Shape;9411;p11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412" name="Google Shape;9412;p11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13" name="Google Shape;9413;p1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14" name="Google Shape;9414;p11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15" name="Google Shape;9415;p11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16" name="Google Shape;9416;p11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17" name="Google Shape;9417;p112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5">
    <p:spTree>
      <p:nvGrpSpPr>
        <p:cNvPr id="1" name="Shape 9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19" name="Google Shape;9419;p112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20" name="Google Shape;9420;p112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21" name="Google Shape;9421;p112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22" name="Google Shape;9422;p11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23" name="Google Shape;9423;p11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24" name="Google Shape;9424;p11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425" name="Google Shape;9425;p11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26" name="Google Shape;9426;p11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27" name="Google Shape;9427;p11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28" name="Google Shape;9428;p11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29" name="Google Shape;9429;p11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30" name="Google Shape;9430;p112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6">
    <p:spTree>
      <p:nvGrpSpPr>
        <p:cNvPr id="1" name="Shape 9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32" name="Google Shape;9432;p11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33" name="Google Shape;9433;p11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34" name="Google Shape;9434;p11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35" name="Google Shape;9435;p1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36" name="Google Shape;9436;p1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37" name="Google Shape;9437;p1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438" name="Google Shape;9438;p11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39" name="Google Shape;9439;p1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40" name="Google Shape;9440;p1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41" name="Google Shape;9441;p1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42" name="Google Shape;9442;p1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43" name="Google Shape;9443;p112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9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52" name="Google Shape;9552;p11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53" name="Google Shape;9553;p11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54" name="Google Shape;9554;p11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55" name="Google Shape;9555;p11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556" name="Google Shape;9556;p11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557" name="Google Shape;9557;p11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58" name="Google Shape;9558;p11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59" name="Google Shape;9559;p11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60" name="Google Shape;9560;p11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61" name="Google Shape;9561;p11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9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0" name="Google Shape;9580;p131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81" name="Google Shape;9581;p131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82" name="Google Shape;9582;p131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83" name="Google Shape;9583;p13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84" name="Google Shape;9584;p13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85" name="Google Shape;9585;p13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86" name="Google Shape;9586;p13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87" name="Google Shape;9587;p13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88" name="Google Shape;9588;p13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89" name="Google Shape;9589;p13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590" name="Google Shape;9590;p13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591" name="Google Shape;9591;p131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9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93" name="Google Shape;9593;p13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594" name="Google Shape;9594;p13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595" name="Google Shape;9595;p13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596" name="Google Shape;9596;p13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97" name="Google Shape;9597;p13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598" name="Google Shape;9598;p13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599" name="Google Shape;9599;p13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Google Shape;975;p14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76" name="Google Shape;976;p14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77" name="Google Shape;977;p14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78" name="Google Shape;978;p14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9" name="Google Shape;979;p14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80" name="Google Shape;980;p14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81" name="Google Shape;981;p1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9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01" name="Google Shape;9601;p13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02" name="Google Shape;9602;p13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03" name="Google Shape;9603;p13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04" name="Google Shape;9604;p13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05" name="Google Shape;9605;p13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06" name="Google Shape;9606;p13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07" name="Google Shape;9607;p13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08" name="Google Shape;9608;p13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09" name="Google Shape;9609;p13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10" name="Google Shape;9610;p13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11" name="Google Shape;9611;p13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612" name="Google Shape;9612;p13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9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14" name="Google Shape;9614;p13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15" name="Google Shape;9615;p13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616" name="Google Shape;9616;p13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17" name="Google Shape;9617;p13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18" name="Google Shape;9618;p13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19" name="Google Shape;9619;p13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20" name="Google Shape;9620;p13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621" name="Google Shape;9621;p131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22" name="Google Shape;9622;p131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23" name="Google Shape;9623;p13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24" name="Google Shape;9624;p13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9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26" name="Google Shape;9626;p13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27" name="Google Shape;9627;p13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28" name="Google Shape;9628;p13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29" name="Google Shape;9629;p13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30" name="Google Shape;9630;p13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631" name="Google Shape;9631;p13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32" name="Google Shape;9632;p132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633" name="Google Shape;9633;p132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34" name="Google Shape;9634;p132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635" name="Google Shape;9635;p132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36" name="Google Shape;9636;p13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37" name="Google Shape;9637;p13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38" name="Google Shape;9638;p13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40" name="Google Shape;9640;p13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41" name="Google Shape;9641;p13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42" name="Google Shape;9642;p13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43" name="Google Shape;9643;p13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44" name="Google Shape;9644;p13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645" name="Google Shape;9645;p13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46" name="Google Shape;9646;p13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47" name="Google Shape;9647;p13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48" name="Google Shape;9648;p13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9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50" name="Google Shape;9650;p132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651" name="Google Shape;9651;p132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52" name="Google Shape;9652;p132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653" name="Google Shape;9653;p132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54" name="Google Shape;9654;p132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55" name="Google Shape;9655;p132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656" name="Google Shape;9656;p13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657" name="Google Shape;9657;p132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59" name="Google Shape;9659;p13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60" name="Google Shape;9660;p13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61" name="Google Shape;9661;p13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62" name="Google Shape;9662;p13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63" name="Google Shape;9663;p13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64" name="Google Shape;9664;p13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65" name="Google Shape;9665;p13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66" name="Google Shape;9666;p13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9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68" name="Google Shape;9668;p34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69" name="Google Shape;9669;p34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70" name="Google Shape;9670;p34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671" name="Google Shape;9671;p3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672" name="Google Shape;9672;p34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673" name="Google Shape;9673;p3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74" name="Google Shape;9674;p34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675" name="Google Shape;9675;p3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96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77" name="Google Shape;9677;p132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678" name="Google Shape;9678;p132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79" name="Google Shape;9679;p132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80" name="Google Shape;9680;p132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681" name="Google Shape;9681;p13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682" name="Google Shape;9682;p132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83" name="Google Shape;9683;p132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9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85" name="Google Shape;9685;p34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686" name="Google Shape;9686;p34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687" name="Google Shape;9687;p34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688" name="Google Shape;9688;p3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89" name="Google Shape;9689;p3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690" name="Google Shape;9690;p3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691" name="Google Shape;9691;p3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9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93" name="Google Shape;9693;p37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94" name="Google Shape;9694;p37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95" name="Google Shape;9695;p37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96" name="Google Shape;9696;p3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97" name="Google Shape;9697;p3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98" name="Google Shape;9698;p3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99" name="Google Shape;9699;p3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00" name="Google Shape;9700;p3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01" name="Google Shape;9701;p3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02" name="Google Shape;9702;p3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03" name="Google Shape;9703;p3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704" name="Google Shape;9704;p37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Google Shape;983;p1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" name="Google Shape;984;p1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" name="Google Shape;985;p1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6" name="Google Shape;986;p1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7" name="Google Shape;987;p1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8" name="Google Shape;988;p1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9" name="Google Shape;989;p1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0" name="Google Shape;990;p1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1" name="Google Shape;991;p1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2" name="Google Shape;992;p1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3" name="Google Shape;993;p1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94" name="Google Shape;994;p1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9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7" name="Google Shape;9717;p13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18" name="Google Shape;9718;p13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719" name="Google Shape;9719;p13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20" name="Google Shape;9720;p13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21" name="Google Shape;9721;p13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22" name="Google Shape;9722;p13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23" name="Google Shape;9723;p13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724" name="Google Shape;9724;p132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25" name="Google Shape;9725;p132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26" name="Google Shape;9726;p13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27" name="Google Shape;9727;p13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9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29" name="Google Shape;9729;p3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30" name="Google Shape;9730;p3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31" name="Google Shape;9731;p3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32" name="Google Shape;9732;p3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33" name="Google Shape;9733;p3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734" name="Google Shape;9734;p3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35" name="Google Shape;9735;p34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36" name="Google Shape;9736;p34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7" name="Google Shape;9737;p34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38" name="Google Shape;9738;p34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9" name="Google Shape;9739;p3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0" name="Google Shape;9740;p3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41" name="Google Shape;9741;p3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9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43" name="Google Shape;9743;p3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44" name="Google Shape;9744;p3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45" name="Google Shape;9745;p3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46" name="Google Shape;9746;p3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47" name="Google Shape;9747;p3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748" name="Google Shape;9748;p3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49" name="Google Shape;9749;p3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50" name="Google Shape;9750;p3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1" name="Google Shape;9751;p3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9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53" name="Google Shape;9753;p35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754" name="Google Shape;9754;p35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55" name="Google Shape;9755;p35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756" name="Google Shape;9756;p35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57" name="Google Shape;9757;p35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58" name="Google Shape;9758;p35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759" name="Google Shape;9759;p3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760" name="Google Shape;9760;p3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9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62" name="Google Shape;9762;p3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63" name="Google Shape;9763;p3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64" name="Google Shape;9764;p3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5" name="Google Shape;9765;p3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66" name="Google Shape;9766;p3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67" name="Google Shape;9767;p3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68" name="Google Shape;9768;p3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69" name="Google Shape;9769;p3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9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1" name="Google Shape;9771;p13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72" name="Google Shape;9772;p13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73" name="Google Shape;9773;p13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74" name="Google Shape;9774;p13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75" name="Google Shape;9775;p13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76" name="Google Shape;9776;p13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77" name="Google Shape;9777;p13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78" name="Google Shape;9778;p13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79" name="Google Shape;9779;p13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80" name="Google Shape;9780;p13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81" name="Google Shape;9781;p13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782" name="Google Shape;9782;p132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9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84" name="Google Shape;9784;p132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85" name="Google Shape;9785;p132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86" name="Google Shape;9786;p132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787" name="Google Shape;9787;p13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788" name="Google Shape;9788;p132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789" name="Google Shape;9789;p132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90" name="Google Shape;9790;p132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91" name="Google Shape;9791;p13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9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93" name="Google Shape;9793;p132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794" name="Google Shape;9794;p132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95" name="Google Shape;9795;p13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96" name="Google Shape;9796;p132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97" name="Google Shape;9797;p13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798" name="Google Shape;9798;p132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99" name="Google Shape;9799;p132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9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Google Shape;9801;p133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802" name="Google Shape;9802;p133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803" name="Google Shape;9803;p133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804" name="Google Shape;9804;p133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05" name="Google Shape;9805;p133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806" name="Google Shape;9806;p133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807" name="Google Shape;9807;p13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9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9" name="Google Shape;9809;p13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10" name="Google Shape;9810;p13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11" name="Google Shape;9811;p13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12" name="Google Shape;9812;p13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13" name="Google Shape;9813;p13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14" name="Google Shape;9814;p13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15" name="Google Shape;9815;p13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16" name="Google Shape;9816;p13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17" name="Google Shape;9817;p13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18" name="Google Shape;9818;p13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19" name="Google Shape;9819;p13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820" name="Google Shape;9820;p133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9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6" name="Google Shape;996;p15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7" name="Google Shape;997;p15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" name="Google Shape;998;p15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9" name="Google Shape;999;p1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0" name="Google Shape;1000;p1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1" name="Google Shape;1001;p1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2" name="Google Shape;1002;p1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3" name="Google Shape;1003;p1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4" name="Google Shape;1004;p1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5" name="Google Shape;1005;p1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6" name="Google Shape;1006;p1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7" name="Google Shape;1007;p15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98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22" name="Google Shape;9822;p13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23" name="Google Shape;9823;p13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24" name="Google Shape;9824;p13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25" name="Google Shape;9825;p13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26" name="Google Shape;9826;p13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827" name="Google Shape;9827;p13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28" name="Google Shape;9828;p133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29" name="Google Shape;9829;p13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30" name="Google Shape;9830;p13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31" name="Google Shape;9831;p13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9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3" name="Google Shape;9833;p13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34" name="Google Shape;9834;p133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835" name="Google Shape;9835;p13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36" name="Google Shape;9836;p13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37" name="Google Shape;9837;p13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38" name="Google Shape;9838;p13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39" name="Google Shape;9839;p13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840" name="Google Shape;9840;p133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41" name="Google Shape;9841;p133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42" name="Google Shape;9842;p13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43" name="Google Shape;9843;p13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9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45" name="Google Shape;9845;p13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46" name="Google Shape;9846;p13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47" name="Google Shape;9847;p13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48" name="Google Shape;9848;p13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49" name="Google Shape;9849;p13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850" name="Google Shape;9850;p13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1" name="Google Shape;9851;p133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852" name="Google Shape;9852;p133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53" name="Google Shape;9853;p133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854" name="Google Shape;9854;p133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55" name="Google Shape;9855;p13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56" name="Google Shape;9856;p13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57" name="Google Shape;9857;p13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9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59" name="Google Shape;9859;p13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60" name="Google Shape;9860;p13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61" name="Google Shape;9861;p13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62" name="Google Shape;9862;p13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63" name="Google Shape;9863;p13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864" name="Google Shape;9864;p13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65" name="Google Shape;9865;p13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66" name="Google Shape;9866;p13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67" name="Google Shape;9867;p13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9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69" name="Google Shape;9869;p133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870" name="Google Shape;9870;p133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71" name="Google Shape;9871;p133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872" name="Google Shape;9872;p133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73" name="Google Shape;9873;p133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74" name="Google Shape;9874;p133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875" name="Google Shape;9875;p13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876" name="Google Shape;9876;p13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9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78" name="Google Shape;9878;p13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79" name="Google Shape;9879;p13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80" name="Google Shape;9880;p13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81" name="Google Shape;9881;p13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82" name="Google Shape;9882;p13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83" name="Google Shape;9883;p13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84" name="Google Shape;9884;p13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85" name="Google Shape;9885;p13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9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87" name="Google Shape;9887;p93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88" name="Google Shape;9888;p93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89" name="Google Shape;9889;p93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890" name="Google Shape;9890;p93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891" name="Google Shape;9891;p93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892" name="Google Shape;9892;p9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93" name="Google Shape;9893;p93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894" name="Google Shape;9894;p9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9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96" name="Google Shape;9896;p133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897" name="Google Shape;9897;p133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98" name="Google Shape;9898;p133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99" name="Google Shape;9899;p133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00" name="Google Shape;9900;p13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901" name="Google Shape;9901;p133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02" name="Google Shape;9902;p133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99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04" name="Google Shape;9904;p11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05" name="Google Shape;9905;p11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06" name="Google Shape;9906;p11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07" name="Google Shape;9907;p1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08" name="Google Shape;9908;p1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09" name="Google Shape;9909;p1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10" name="Google Shape;9910;p1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11" name="Google Shape;9911;p11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12" name="Google Shape;9912;p1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13" name="Google Shape;9913;p1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14" name="Google Shape;9914;p1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915" name="Google Shape;9915;p110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9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17" name="Google Shape;9917;p93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918" name="Google Shape;9918;p93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919" name="Google Shape;9919;p93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920" name="Google Shape;9920;p93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21" name="Google Shape;9921;p93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922" name="Google Shape;9922;p93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923" name="Google Shape;9923;p9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9" name="Google Shape;1009;p1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0" name="Google Shape;1010;p1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1" name="Google Shape;1011;p1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2" name="Google Shape;1012;p1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3" name="Google Shape;1013;p1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4" name="Google Shape;1014;p1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5" name="Google Shape;1015;p1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6" name="Google Shape;1016;p1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7" name="Google Shape;1017;p1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8" name="Google Shape;1018;p1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9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5" name="Google Shape;9925;p133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26" name="Google Shape;9926;p133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27" name="Google Shape;9927;p133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28" name="Google Shape;9928;p13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29" name="Google Shape;9929;p13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30" name="Google Shape;9930;p13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31" name="Google Shape;9931;p13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32" name="Google Shape;9932;p13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33" name="Google Shape;9933;p13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34" name="Google Shape;9934;p13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35" name="Google Shape;9935;p13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936" name="Google Shape;9936;p133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99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38" name="Google Shape;9938;p9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39" name="Google Shape;9939;p9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40" name="Google Shape;9940;p9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41" name="Google Shape;9941;p9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42" name="Google Shape;9942;p9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943" name="Google Shape;9943;p9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44" name="Google Shape;9944;p9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45" name="Google Shape;9945;p9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46" name="Google Shape;9946;p9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47" name="Google Shape;9947;p9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9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9" name="Google Shape;9949;p9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50" name="Google Shape;9950;p9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951" name="Google Shape;9951;p9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52" name="Google Shape;9952;p9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53" name="Google Shape;9953;p9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54" name="Google Shape;9954;p9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55" name="Google Shape;9955;p9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956" name="Google Shape;9956;p93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57" name="Google Shape;9957;p93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58" name="Google Shape;9958;p9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59" name="Google Shape;9959;p9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99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61" name="Google Shape;9961;p9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62" name="Google Shape;9962;p9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63" name="Google Shape;9963;p9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64" name="Google Shape;9964;p9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65" name="Google Shape;9965;p9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966" name="Google Shape;9966;p9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67" name="Google Shape;9967;p93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968" name="Google Shape;9968;p93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69" name="Google Shape;9969;p93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970" name="Google Shape;9970;p93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71" name="Google Shape;9971;p9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72" name="Google Shape;9972;p9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73" name="Google Shape;9973;p9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9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75" name="Google Shape;9975;p9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76" name="Google Shape;9976;p9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77" name="Google Shape;9977;p9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78" name="Google Shape;9978;p9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79" name="Google Shape;9979;p9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980" name="Google Shape;9980;p9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1" name="Google Shape;9981;p9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82" name="Google Shape;9982;p9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83" name="Google Shape;9983;p9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9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85" name="Google Shape;9985;p93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986" name="Google Shape;9986;p93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87" name="Google Shape;9987;p93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988" name="Google Shape;9988;p93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89" name="Google Shape;9989;p93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90" name="Google Shape;9990;p93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91" name="Google Shape;9991;p9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992" name="Google Shape;9992;p93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9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4" name="Google Shape;9994;p9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95" name="Google Shape;9995;p9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96" name="Google Shape;9996;p9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97" name="Google Shape;9997;p9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98" name="Google Shape;9998;p9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99" name="Google Shape;9999;p9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00" name="Google Shape;10000;p9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01" name="Google Shape;10001;p9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10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3" name="Google Shape;10003;p90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04" name="Google Shape;10004;p90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05" name="Google Shape;10005;p90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006" name="Google Shape;10006;p90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007" name="Google Shape;10007;p90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008" name="Google Shape;10008;p90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09" name="Google Shape;10009;p90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10" name="Google Shape;10010;p9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100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12" name="Google Shape;10012;p3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013" name="Google Shape;10013;p3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14" name="Google Shape;10014;p3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15" name="Google Shape;10015;p3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16" name="Google Shape;10016;p3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017" name="Google Shape;10017;p3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18" name="Google Shape;10018;p3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10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20" name="Google Shape;10020;p13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021" name="Google Shape;10021;p134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022" name="Google Shape;10022;p13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023" name="Google Shape;10023;p13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24" name="Google Shape;10024;p13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025" name="Google Shape;10025;p13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026" name="Google Shape;10026;p13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0" name="Google Shape;1020;p1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1" name="Google Shape;1021;p1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22" name="Google Shape;1022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3" name="Google Shape;1023;p1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4" name="Google Shape;1024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5" name="Google Shape;1025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6" name="Google Shape;1026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7" name="Google Shape;1027;p15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" name="Google Shape;1028;p15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9" name="Google Shape;1029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" name="Google Shape;1030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10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28" name="Google Shape;10028;p13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29" name="Google Shape;10029;p13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30" name="Google Shape;10030;p13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31" name="Google Shape;10031;p13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32" name="Google Shape;10032;p13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33" name="Google Shape;10033;p13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34" name="Google Shape;10034;p13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35" name="Google Shape;10035;p13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36" name="Google Shape;10036;p13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37" name="Google Shape;10037;p13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38" name="Google Shape;10038;p13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039" name="Google Shape;10039;p134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100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" name="Google Shape;10041;p13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42" name="Google Shape;10042;p13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43" name="Google Shape;10043;p13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44" name="Google Shape;10044;p13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45" name="Google Shape;10045;p13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46" name="Google Shape;10046;p13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47" name="Google Shape;10047;p13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48" name="Google Shape;10048;p13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49" name="Google Shape;10049;p13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50" name="Google Shape;10050;p13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51" name="Google Shape;10051;p13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052" name="Google Shape;10052;p134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100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54" name="Google Shape;10054;p13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55" name="Google Shape;10055;p13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56" name="Google Shape;10056;p13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57" name="Google Shape;10057;p13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58" name="Google Shape;10058;p13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059" name="Google Shape;10059;p13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60" name="Google Shape;10060;p134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61" name="Google Shape;10061;p13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62" name="Google Shape;10062;p13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63" name="Google Shape;10063;p13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10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5" name="Google Shape;10065;p13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66" name="Google Shape;10066;p13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067" name="Google Shape;10067;p13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68" name="Google Shape;10068;p13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69" name="Google Shape;10069;p13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70" name="Google Shape;10070;p13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71" name="Google Shape;10071;p13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072" name="Google Shape;10072;p134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73" name="Google Shape;10073;p134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74" name="Google Shape;10074;p13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75" name="Google Shape;10075;p13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10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77" name="Google Shape;10077;p13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78" name="Google Shape;10078;p13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79" name="Google Shape;10079;p13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80" name="Google Shape;10080;p13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81" name="Google Shape;10081;p13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082" name="Google Shape;10082;p13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83" name="Google Shape;10083;p134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084" name="Google Shape;10084;p134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85" name="Google Shape;10085;p134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086" name="Google Shape;10086;p134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87" name="Google Shape;10087;p13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88" name="Google Shape;10088;p13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89" name="Google Shape;10089;p13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100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91" name="Google Shape;10091;p13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92" name="Google Shape;10092;p13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93" name="Google Shape;10093;p13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94" name="Google Shape;10094;p13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95" name="Google Shape;10095;p13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096" name="Google Shape;10096;p13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97" name="Google Shape;10097;p13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98" name="Google Shape;10098;p13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99" name="Google Shape;10099;p13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10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01" name="Google Shape;10101;p3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102" name="Google Shape;10102;p3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03" name="Google Shape;10103;p3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04" name="Google Shape;10104;p38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05" name="Google Shape;10105;p3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06" name="Google Shape;10106;p3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107" name="Google Shape;10107;p3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108" name="Google Shape;10108;p3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10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0" name="Google Shape;10110;p3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11" name="Google Shape;10111;p3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12" name="Google Shape;10112;p3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13" name="Google Shape;10113;p3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14" name="Google Shape;10114;p3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15" name="Google Shape;10115;p3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16" name="Google Shape;10116;p3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17" name="Google Shape;10117;p3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10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9" name="Google Shape;10119;p7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20" name="Google Shape;10120;p7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21" name="Google Shape;10121;p7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122" name="Google Shape;10122;p7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123" name="Google Shape;10123;p7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124" name="Google Shape;10124;p7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25" name="Google Shape;10125;p7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126" name="Google Shape;10126;p7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10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28" name="Google Shape;10128;p74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129" name="Google Shape;10129;p74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30" name="Google Shape;10130;p7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31" name="Google Shape;10131;p74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132" name="Google Shape;10132;p7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133" name="Google Shape;10133;p74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34" name="Google Shape;10134;p74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2" name="Google Shape;1032;p1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3" name="Google Shape;1033;p1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4" name="Google Shape;1034;p1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5" name="Google Shape;1035;p1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6" name="Google Shape;1036;p1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7" name="Google Shape;1037;p1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8" name="Google Shape;1038;p15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39" name="Google Shape;1039;p15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" name="Google Shape;1040;p15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1" name="Google Shape;1041;p15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2" name="Google Shape;1042;p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3" name="Google Shape;1043;p1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4" name="Google Shape;1044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10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6" name="Google Shape;10136;p13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37" name="Google Shape;10137;p13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38" name="Google Shape;10138;p13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39" name="Google Shape;10139;p13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40" name="Google Shape;10140;p13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41" name="Google Shape;10141;p13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42" name="Google Shape;10142;p13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43" name="Google Shape;10143;p13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44" name="Google Shape;10144;p13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45" name="Google Shape;10145;p13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46" name="Google Shape;10146;p13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147" name="Google Shape;10147;p134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10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49" name="Google Shape;10149;p7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50" name="Google Shape;10150;p7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51" name="Google Shape;10151;p7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52" name="Google Shape;10152;p7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53" name="Google Shape;10153;p7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154" name="Google Shape;10154;p7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55" name="Google Shape;10155;p75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56" name="Google Shape;10156;p7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57" name="Google Shape;10157;p7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58" name="Google Shape;10158;p7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10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60" name="Google Shape;10160;p7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61" name="Google Shape;10161;p7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162" name="Google Shape;10162;p7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63" name="Google Shape;10163;p7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64" name="Google Shape;10164;p7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65" name="Google Shape;10165;p7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66" name="Google Shape;10166;p7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167" name="Google Shape;10167;p75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68" name="Google Shape;10168;p75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69" name="Google Shape;10169;p7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70" name="Google Shape;10170;p7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10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72" name="Google Shape;10172;p7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73" name="Google Shape;10173;p7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74" name="Google Shape;10174;p7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75" name="Google Shape;10175;p7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76" name="Google Shape;10176;p7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177" name="Google Shape;10177;p7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78" name="Google Shape;10178;p75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179" name="Google Shape;10179;p75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80" name="Google Shape;10180;p75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181" name="Google Shape;10181;p75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82" name="Google Shape;10182;p7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83" name="Google Shape;10183;p7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84" name="Google Shape;10184;p7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10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6" name="Google Shape;10186;p75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187" name="Google Shape;10187;p75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188" name="Google Shape;10188;p75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189" name="Google Shape;10189;p75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90" name="Google Shape;10190;p75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91" name="Google Shape;10191;p75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192" name="Google Shape;10192;p7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10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94" name="Google Shape;10194;p75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195" name="Google Shape;10195;p75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96" name="Google Shape;10196;p75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97" name="Google Shape;10197;p75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8" name="Google Shape;10198;p75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99" name="Google Shape;10199;p75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200" name="Google Shape;10200;p7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201" name="Google Shape;10201;p75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10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03" name="Google Shape;10203;p7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04" name="Google Shape;10204;p7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05" name="Google Shape;10205;p7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06" name="Google Shape;10206;p7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07" name="Google Shape;10207;p7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08" name="Google Shape;10208;p7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09" name="Google Shape;10209;p7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10" name="Google Shape;10210;p7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10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12" name="Google Shape;10212;p7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13" name="Google Shape;10213;p7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14" name="Google Shape;10214;p7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15" name="Google Shape;10215;p7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16" name="Google Shape;10216;p7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217" name="Google Shape;10217;p7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18" name="Google Shape;10218;p7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19" name="Google Shape;10219;p7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20" name="Google Shape;10220;p7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10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2" name="Google Shape;10222;p134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23" name="Google Shape;10223;p134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24" name="Google Shape;10224;p134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225" name="Google Shape;10225;p134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226" name="Google Shape;10226;p134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227" name="Google Shape;10227;p13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28" name="Google Shape;10228;p134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229" name="Google Shape;10229;p13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10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31" name="Google Shape;10231;p134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232" name="Google Shape;10232;p134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33" name="Google Shape;10233;p134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34" name="Google Shape;10234;p134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235" name="Google Shape;10235;p13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236" name="Google Shape;10236;p134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37" name="Google Shape;10237;p134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6" name="Google Shape;1046;p1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7" name="Google Shape;1047;p1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8" name="Google Shape;1048;p1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9" name="Google Shape;1049;p1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0" name="Google Shape;1050;p1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1" name="Google Shape;1051;p1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" name="Google Shape;1052;p1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3" name="Google Shape;1053;p1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4" name="Google Shape;1054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10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39" name="Google Shape;10239;p13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40" name="Google Shape;10240;p13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41" name="Google Shape;10241;p13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42" name="Google Shape;10242;p13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43" name="Google Shape;10243;p13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44" name="Google Shape;10244;p13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45" name="Google Shape;10245;p13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46" name="Google Shape;10246;p13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47" name="Google Shape;10247;p13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48" name="Google Shape;10248;p13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49" name="Google Shape;10249;p13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250" name="Google Shape;10250;p13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10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52" name="Google Shape;10252;p13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53" name="Google Shape;10253;p13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54" name="Google Shape;10254;p13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55" name="Google Shape;10255;p13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56" name="Google Shape;10256;p13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257" name="Google Shape;10257;p13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58" name="Google Shape;10258;p13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59" name="Google Shape;10259;p13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60" name="Google Shape;10260;p13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61" name="Google Shape;10261;p13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10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3" name="Google Shape;10263;p13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64" name="Google Shape;10264;p13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265" name="Google Shape;10265;p13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66" name="Google Shape;10266;p13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67" name="Google Shape;10267;p13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68" name="Google Shape;10268;p13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69" name="Google Shape;10269;p13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270" name="Google Shape;10270;p135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71" name="Google Shape;10271;p135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72" name="Google Shape;10272;p13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73" name="Google Shape;10273;p13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10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75" name="Google Shape;10275;p13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76" name="Google Shape;10276;p13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77" name="Google Shape;10277;p13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78" name="Google Shape;10278;p13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79" name="Google Shape;10279;p13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280" name="Google Shape;10280;p13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81" name="Google Shape;10281;p135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82" name="Google Shape;10282;p135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3" name="Google Shape;10283;p135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84" name="Google Shape;10284;p135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5" name="Google Shape;10285;p13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86" name="Google Shape;10286;p13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87" name="Google Shape;10287;p13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10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9" name="Google Shape;10289;p13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290" name="Google Shape;10290;p13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291" name="Google Shape;10291;p13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292" name="Google Shape;10292;p13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93" name="Google Shape;10293;p13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294" name="Google Shape;10294;p13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295" name="Google Shape;10295;p13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10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7" name="Google Shape;10297;p13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98" name="Google Shape;10298;p13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99" name="Google Shape;10299;p13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00" name="Google Shape;10300;p13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01" name="Google Shape;10301;p13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2" name="Google Shape;10302;p13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03" name="Google Shape;10303;p13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04" name="Google Shape;10304;p13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05" name="Google Shape;10305;p13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06" name="Google Shape;10306;p13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07" name="Google Shape;10307;p13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308" name="Google Shape;10308;p13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10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10" name="Google Shape;10310;p135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311" name="Google Shape;10311;p135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12" name="Google Shape;10312;p135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3" name="Google Shape;10313;p135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14" name="Google Shape;10314;p135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15" name="Google Shape;10315;p135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316" name="Google Shape;10316;p13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317" name="Google Shape;10317;p135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10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9" name="Google Shape;10319;p13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20" name="Google Shape;10320;p13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21" name="Google Shape;10321;p13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22" name="Google Shape;10322;p13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23" name="Google Shape;10323;p13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24" name="Google Shape;10324;p13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25" name="Google Shape;10325;p13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26" name="Google Shape;10326;p13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10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28" name="Google Shape;10328;p13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29" name="Google Shape;10329;p13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30" name="Google Shape;10330;p13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31" name="Google Shape;10331;p13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32" name="Google Shape;10332;p13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333" name="Google Shape;10333;p13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34" name="Google Shape;10334;p13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35" name="Google Shape;10335;p13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36" name="Google Shape;10336;p13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10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8" name="Google Shape;10338;p135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9" name="Google Shape;10339;p135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40" name="Google Shape;10340;p135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341" name="Google Shape;10341;p13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342" name="Google Shape;10342;p135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343" name="Google Shape;10343;p13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44" name="Google Shape;10344;p135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345" name="Google Shape;10345;p13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63" Type="http://schemas.openxmlformats.org/officeDocument/2006/relationships/slideLayout" Target="../slideLayouts/slideLayout63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226" Type="http://schemas.openxmlformats.org/officeDocument/2006/relationships/slideLayout" Target="../slideLayouts/slideLayout226.xml"/><Relationship Id="rId268" Type="http://schemas.openxmlformats.org/officeDocument/2006/relationships/slideLayout" Target="../slideLayouts/slideLayout268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16" Type="http://schemas.openxmlformats.org/officeDocument/2006/relationships/slideLayout" Target="../slideLayouts/slideLayout216.xml"/><Relationship Id="rId237" Type="http://schemas.openxmlformats.org/officeDocument/2006/relationships/slideLayout" Target="../slideLayouts/slideLayout237.xml"/><Relationship Id="rId258" Type="http://schemas.openxmlformats.org/officeDocument/2006/relationships/slideLayout" Target="../slideLayouts/slideLayout258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227" Type="http://schemas.openxmlformats.org/officeDocument/2006/relationships/slideLayout" Target="../slideLayouts/slideLayout227.xml"/><Relationship Id="rId248" Type="http://schemas.openxmlformats.org/officeDocument/2006/relationships/slideLayout" Target="../slideLayouts/slideLayout248.xml"/><Relationship Id="rId269" Type="http://schemas.openxmlformats.org/officeDocument/2006/relationships/slideLayout" Target="../slideLayouts/slideLayout269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217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259" Type="http://schemas.openxmlformats.org/officeDocument/2006/relationships/slideLayout" Target="../slideLayouts/slideLayout259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270" Type="http://schemas.openxmlformats.org/officeDocument/2006/relationships/slideLayout" Target="../slideLayouts/slideLayout270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28" Type="http://schemas.openxmlformats.org/officeDocument/2006/relationships/slideLayout" Target="../slideLayouts/slideLayout228.xml"/><Relationship Id="rId249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18" Type="http://schemas.openxmlformats.org/officeDocument/2006/relationships/slideLayout" Target="../slideLayouts/slideLayout218.xml"/><Relationship Id="rId239" Type="http://schemas.openxmlformats.org/officeDocument/2006/relationships/slideLayout" Target="../slideLayouts/slideLayout239.xml"/><Relationship Id="rId250" Type="http://schemas.openxmlformats.org/officeDocument/2006/relationships/slideLayout" Target="../slideLayouts/slideLayout250.xml"/><Relationship Id="rId27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4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31" Type="http://schemas.openxmlformats.org/officeDocument/2006/relationships/slideLayout" Target="../slideLayouts/slideLayout131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229" Type="http://schemas.openxmlformats.org/officeDocument/2006/relationships/slideLayout" Target="../slideLayouts/slideLayout229.xml"/><Relationship Id="rId240" Type="http://schemas.openxmlformats.org/officeDocument/2006/relationships/slideLayout" Target="../slideLayouts/slideLayout240.xml"/><Relationship Id="rId261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14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8" Type="http://schemas.openxmlformats.org/officeDocument/2006/relationships/slideLayout" Target="../slideLayouts/slideLayout8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219" Type="http://schemas.openxmlformats.org/officeDocument/2006/relationships/slideLayout" Target="../slideLayouts/slideLayout219.xml"/><Relationship Id="rId230" Type="http://schemas.openxmlformats.org/officeDocument/2006/relationships/slideLayout" Target="../slideLayouts/slideLayout230.xml"/><Relationship Id="rId251" Type="http://schemas.openxmlformats.org/officeDocument/2006/relationships/slideLayout" Target="../slideLayouts/slideLayout251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272" Type="http://schemas.openxmlformats.org/officeDocument/2006/relationships/theme" Target="../theme/theme1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220" Type="http://schemas.openxmlformats.org/officeDocument/2006/relationships/slideLayout" Target="../slideLayouts/slideLayout220.xml"/><Relationship Id="rId241" Type="http://schemas.openxmlformats.org/officeDocument/2006/relationships/slideLayout" Target="../slideLayouts/slideLayout24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262" Type="http://schemas.openxmlformats.org/officeDocument/2006/relationships/slideLayout" Target="../slideLayouts/slideLayout262.xml"/><Relationship Id="rId78" Type="http://schemas.openxmlformats.org/officeDocument/2006/relationships/slideLayout" Target="../slideLayouts/slideLayout78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64" Type="http://schemas.openxmlformats.org/officeDocument/2006/relationships/slideLayout" Target="../slideLayouts/slideLayout164.xml"/><Relationship Id="rId185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9.xml"/><Relationship Id="rId210" Type="http://schemas.openxmlformats.org/officeDocument/2006/relationships/slideLayout" Target="../slideLayouts/slideLayout210.xml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52" Type="http://schemas.openxmlformats.org/officeDocument/2006/relationships/slideLayout" Target="../slideLayouts/slideLayout252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242" Type="http://schemas.openxmlformats.org/officeDocument/2006/relationships/slideLayout" Target="../slideLayouts/slideLayout242.xml"/><Relationship Id="rId263" Type="http://schemas.openxmlformats.org/officeDocument/2006/relationships/slideLayout" Target="../slideLayouts/slideLayout263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11" Type="http://schemas.openxmlformats.org/officeDocument/2006/relationships/slideLayout" Target="../slideLayouts/slideLayout211.xml"/><Relationship Id="rId232" Type="http://schemas.openxmlformats.org/officeDocument/2006/relationships/slideLayout" Target="../slideLayouts/slideLayout232.xml"/><Relationship Id="rId253" Type="http://schemas.openxmlformats.org/officeDocument/2006/relationships/slideLayout" Target="../slideLayouts/slideLayout253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201" Type="http://schemas.openxmlformats.org/officeDocument/2006/relationships/slideLayout" Target="../slideLayouts/slideLayout201.xml"/><Relationship Id="rId222" Type="http://schemas.openxmlformats.org/officeDocument/2006/relationships/slideLayout" Target="../slideLayouts/slideLayout222.xml"/><Relationship Id="rId243" Type="http://schemas.openxmlformats.org/officeDocument/2006/relationships/slideLayout" Target="../slideLayouts/slideLayout243.xml"/><Relationship Id="rId264" Type="http://schemas.openxmlformats.org/officeDocument/2006/relationships/slideLayout" Target="../slideLayouts/slideLayout264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33" Type="http://schemas.openxmlformats.org/officeDocument/2006/relationships/slideLayout" Target="../slideLayouts/slideLayout233.xml"/><Relationship Id="rId254" Type="http://schemas.openxmlformats.org/officeDocument/2006/relationships/slideLayout" Target="../slideLayouts/slideLayout254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202" Type="http://schemas.openxmlformats.org/officeDocument/2006/relationships/slideLayout" Target="../slideLayouts/slideLayout202.xml"/><Relationship Id="rId223" Type="http://schemas.openxmlformats.org/officeDocument/2006/relationships/slideLayout" Target="../slideLayouts/slideLayout223.xml"/><Relationship Id="rId244" Type="http://schemas.openxmlformats.org/officeDocument/2006/relationships/slideLayout" Target="../slideLayouts/slideLayout244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265" Type="http://schemas.openxmlformats.org/officeDocument/2006/relationships/slideLayout" Target="../slideLayouts/slideLayout265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34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55" Type="http://schemas.openxmlformats.org/officeDocument/2006/relationships/slideLayout" Target="../slideLayouts/slideLayout255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45" Type="http://schemas.openxmlformats.org/officeDocument/2006/relationships/slideLayout" Target="../slideLayouts/slideLayout245.xml"/><Relationship Id="rId266" Type="http://schemas.openxmlformats.org/officeDocument/2006/relationships/slideLayout" Target="../slideLayouts/slideLayout266.xml"/><Relationship Id="rId30" Type="http://schemas.openxmlformats.org/officeDocument/2006/relationships/slideLayout" Target="../slideLayouts/slideLayout3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35" Type="http://schemas.openxmlformats.org/officeDocument/2006/relationships/slideLayout" Target="../slideLayouts/slideLayout235.xml"/><Relationship Id="rId256" Type="http://schemas.openxmlformats.org/officeDocument/2006/relationships/slideLayout" Target="../slideLayouts/slideLayout256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179" Type="http://schemas.openxmlformats.org/officeDocument/2006/relationships/slideLayout" Target="../slideLayouts/slideLayout17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25" Type="http://schemas.openxmlformats.org/officeDocument/2006/relationships/slideLayout" Target="../slideLayouts/slideLayout225.xml"/><Relationship Id="rId246" Type="http://schemas.openxmlformats.org/officeDocument/2006/relationships/slideLayout" Target="../slideLayouts/slideLayout246.xml"/><Relationship Id="rId267" Type="http://schemas.openxmlformats.org/officeDocument/2006/relationships/slideLayout" Target="../slideLayouts/slideLayout26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94" Type="http://schemas.openxmlformats.org/officeDocument/2006/relationships/slideLayout" Target="../slideLayouts/slideLayout94.xml"/><Relationship Id="rId148" Type="http://schemas.openxmlformats.org/officeDocument/2006/relationships/slideLayout" Target="../slideLayouts/slideLayout148.xml"/><Relationship Id="rId169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4.xml"/><Relationship Id="rId180" Type="http://schemas.openxmlformats.org/officeDocument/2006/relationships/slideLayout" Target="../slideLayouts/slideLayout180.xml"/><Relationship Id="rId215" Type="http://schemas.openxmlformats.org/officeDocument/2006/relationships/slideLayout" Target="../slideLayouts/slideLayout215.xml"/><Relationship Id="rId236" Type="http://schemas.openxmlformats.org/officeDocument/2006/relationships/slideLayout" Target="../slideLayouts/slideLayout236.xml"/><Relationship Id="rId257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42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47" Type="http://schemas.openxmlformats.org/officeDocument/2006/relationships/slideLayout" Target="../slideLayouts/slideLayout247.xml"/><Relationship Id="rId107" Type="http://schemas.openxmlformats.org/officeDocument/2006/relationships/slideLayout" Target="../slideLayouts/slideLayout107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4.xml"/><Relationship Id="rId3" Type="http://schemas.openxmlformats.org/officeDocument/2006/relationships/slideLayout" Target="../slideLayouts/slideLayout1539.xml"/><Relationship Id="rId7" Type="http://schemas.openxmlformats.org/officeDocument/2006/relationships/slideLayout" Target="../slideLayouts/slideLayout154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538.xml"/><Relationship Id="rId1" Type="http://schemas.openxmlformats.org/officeDocument/2006/relationships/slideLayout" Target="../slideLayouts/slideLayout1537.xml"/><Relationship Id="rId6" Type="http://schemas.openxmlformats.org/officeDocument/2006/relationships/slideLayout" Target="../slideLayouts/slideLayout1542.xml"/><Relationship Id="rId11" Type="http://schemas.openxmlformats.org/officeDocument/2006/relationships/slideLayout" Target="../slideLayouts/slideLayout1547.xml"/><Relationship Id="rId5" Type="http://schemas.openxmlformats.org/officeDocument/2006/relationships/slideLayout" Target="../slideLayouts/slideLayout1541.xml"/><Relationship Id="rId10" Type="http://schemas.openxmlformats.org/officeDocument/2006/relationships/slideLayout" Target="../slideLayouts/slideLayout1546.xml"/><Relationship Id="rId4" Type="http://schemas.openxmlformats.org/officeDocument/2006/relationships/slideLayout" Target="../slideLayouts/slideLayout1540.xml"/><Relationship Id="rId9" Type="http://schemas.openxmlformats.org/officeDocument/2006/relationships/slideLayout" Target="../slideLayouts/slideLayout154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5.xml"/><Relationship Id="rId3" Type="http://schemas.openxmlformats.org/officeDocument/2006/relationships/slideLayout" Target="../slideLayouts/slideLayout1550.xml"/><Relationship Id="rId7" Type="http://schemas.openxmlformats.org/officeDocument/2006/relationships/slideLayout" Target="../slideLayouts/slideLayout1554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549.xml"/><Relationship Id="rId1" Type="http://schemas.openxmlformats.org/officeDocument/2006/relationships/slideLayout" Target="../slideLayouts/slideLayout1548.xml"/><Relationship Id="rId6" Type="http://schemas.openxmlformats.org/officeDocument/2006/relationships/slideLayout" Target="../slideLayouts/slideLayout1553.xml"/><Relationship Id="rId11" Type="http://schemas.openxmlformats.org/officeDocument/2006/relationships/slideLayout" Target="../slideLayouts/slideLayout1558.xml"/><Relationship Id="rId5" Type="http://schemas.openxmlformats.org/officeDocument/2006/relationships/slideLayout" Target="../slideLayouts/slideLayout1552.xml"/><Relationship Id="rId10" Type="http://schemas.openxmlformats.org/officeDocument/2006/relationships/slideLayout" Target="../slideLayouts/slideLayout1557.xml"/><Relationship Id="rId4" Type="http://schemas.openxmlformats.org/officeDocument/2006/relationships/slideLayout" Target="../slideLayouts/slideLayout1551.xml"/><Relationship Id="rId9" Type="http://schemas.openxmlformats.org/officeDocument/2006/relationships/slideLayout" Target="../slideLayouts/slideLayout1556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388.xml"/><Relationship Id="rId21" Type="http://schemas.openxmlformats.org/officeDocument/2006/relationships/slideLayout" Target="../slideLayouts/slideLayout292.xml"/><Relationship Id="rId42" Type="http://schemas.openxmlformats.org/officeDocument/2006/relationships/slideLayout" Target="../slideLayouts/slideLayout313.xml"/><Relationship Id="rId63" Type="http://schemas.openxmlformats.org/officeDocument/2006/relationships/slideLayout" Target="../slideLayouts/slideLayout334.xml"/><Relationship Id="rId84" Type="http://schemas.openxmlformats.org/officeDocument/2006/relationships/slideLayout" Target="../slideLayouts/slideLayout355.xml"/><Relationship Id="rId138" Type="http://schemas.openxmlformats.org/officeDocument/2006/relationships/slideLayout" Target="../slideLayouts/slideLayout409.xml"/><Relationship Id="rId107" Type="http://schemas.openxmlformats.org/officeDocument/2006/relationships/slideLayout" Target="../slideLayouts/slideLayout378.xml"/><Relationship Id="rId11" Type="http://schemas.openxmlformats.org/officeDocument/2006/relationships/slideLayout" Target="../slideLayouts/slideLayout282.xml"/><Relationship Id="rId32" Type="http://schemas.openxmlformats.org/officeDocument/2006/relationships/slideLayout" Target="../slideLayouts/slideLayout303.xml"/><Relationship Id="rId53" Type="http://schemas.openxmlformats.org/officeDocument/2006/relationships/slideLayout" Target="../slideLayouts/slideLayout324.xml"/><Relationship Id="rId74" Type="http://schemas.openxmlformats.org/officeDocument/2006/relationships/slideLayout" Target="../slideLayouts/slideLayout345.xml"/><Relationship Id="rId128" Type="http://schemas.openxmlformats.org/officeDocument/2006/relationships/slideLayout" Target="../slideLayouts/slideLayout399.xml"/><Relationship Id="rId149" Type="http://schemas.openxmlformats.org/officeDocument/2006/relationships/slideLayout" Target="../slideLayouts/slideLayout420.xml"/><Relationship Id="rId5" Type="http://schemas.openxmlformats.org/officeDocument/2006/relationships/slideLayout" Target="../slideLayouts/slideLayout276.xml"/><Relationship Id="rId95" Type="http://schemas.openxmlformats.org/officeDocument/2006/relationships/slideLayout" Target="../slideLayouts/slideLayout366.xml"/><Relationship Id="rId22" Type="http://schemas.openxmlformats.org/officeDocument/2006/relationships/slideLayout" Target="../slideLayouts/slideLayout293.xml"/><Relationship Id="rId27" Type="http://schemas.openxmlformats.org/officeDocument/2006/relationships/slideLayout" Target="../slideLayouts/slideLayout298.xml"/><Relationship Id="rId43" Type="http://schemas.openxmlformats.org/officeDocument/2006/relationships/slideLayout" Target="../slideLayouts/slideLayout314.xml"/><Relationship Id="rId48" Type="http://schemas.openxmlformats.org/officeDocument/2006/relationships/slideLayout" Target="../slideLayouts/slideLayout319.xml"/><Relationship Id="rId64" Type="http://schemas.openxmlformats.org/officeDocument/2006/relationships/slideLayout" Target="../slideLayouts/slideLayout335.xml"/><Relationship Id="rId69" Type="http://schemas.openxmlformats.org/officeDocument/2006/relationships/slideLayout" Target="../slideLayouts/slideLayout340.xml"/><Relationship Id="rId113" Type="http://schemas.openxmlformats.org/officeDocument/2006/relationships/slideLayout" Target="../slideLayouts/slideLayout384.xml"/><Relationship Id="rId118" Type="http://schemas.openxmlformats.org/officeDocument/2006/relationships/slideLayout" Target="../slideLayouts/slideLayout389.xml"/><Relationship Id="rId134" Type="http://schemas.openxmlformats.org/officeDocument/2006/relationships/slideLayout" Target="../slideLayouts/slideLayout405.xml"/><Relationship Id="rId139" Type="http://schemas.openxmlformats.org/officeDocument/2006/relationships/slideLayout" Target="../slideLayouts/slideLayout410.xml"/><Relationship Id="rId80" Type="http://schemas.openxmlformats.org/officeDocument/2006/relationships/slideLayout" Target="../slideLayouts/slideLayout351.xml"/><Relationship Id="rId85" Type="http://schemas.openxmlformats.org/officeDocument/2006/relationships/slideLayout" Target="../slideLayouts/slideLayout356.xml"/><Relationship Id="rId150" Type="http://schemas.openxmlformats.org/officeDocument/2006/relationships/theme" Target="../theme/theme2.xml"/><Relationship Id="rId12" Type="http://schemas.openxmlformats.org/officeDocument/2006/relationships/slideLayout" Target="../slideLayouts/slideLayout283.xml"/><Relationship Id="rId17" Type="http://schemas.openxmlformats.org/officeDocument/2006/relationships/slideLayout" Target="../slideLayouts/slideLayout288.xml"/><Relationship Id="rId33" Type="http://schemas.openxmlformats.org/officeDocument/2006/relationships/slideLayout" Target="../slideLayouts/slideLayout304.xml"/><Relationship Id="rId38" Type="http://schemas.openxmlformats.org/officeDocument/2006/relationships/slideLayout" Target="../slideLayouts/slideLayout309.xml"/><Relationship Id="rId59" Type="http://schemas.openxmlformats.org/officeDocument/2006/relationships/slideLayout" Target="../slideLayouts/slideLayout330.xml"/><Relationship Id="rId103" Type="http://schemas.openxmlformats.org/officeDocument/2006/relationships/slideLayout" Target="../slideLayouts/slideLayout374.xml"/><Relationship Id="rId108" Type="http://schemas.openxmlformats.org/officeDocument/2006/relationships/slideLayout" Target="../slideLayouts/slideLayout379.xml"/><Relationship Id="rId124" Type="http://schemas.openxmlformats.org/officeDocument/2006/relationships/slideLayout" Target="../slideLayouts/slideLayout395.xml"/><Relationship Id="rId129" Type="http://schemas.openxmlformats.org/officeDocument/2006/relationships/slideLayout" Target="../slideLayouts/slideLayout400.xml"/><Relationship Id="rId54" Type="http://schemas.openxmlformats.org/officeDocument/2006/relationships/slideLayout" Target="../slideLayouts/slideLayout325.xml"/><Relationship Id="rId70" Type="http://schemas.openxmlformats.org/officeDocument/2006/relationships/slideLayout" Target="../slideLayouts/slideLayout341.xml"/><Relationship Id="rId75" Type="http://schemas.openxmlformats.org/officeDocument/2006/relationships/slideLayout" Target="../slideLayouts/slideLayout346.xml"/><Relationship Id="rId91" Type="http://schemas.openxmlformats.org/officeDocument/2006/relationships/slideLayout" Target="../slideLayouts/slideLayout362.xml"/><Relationship Id="rId96" Type="http://schemas.openxmlformats.org/officeDocument/2006/relationships/slideLayout" Target="../slideLayouts/slideLayout367.xml"/><Relationship Id="rId140" Type="http://schemas.openxmlformats.org/officeDocument/2006/relationships/slideLayout" Target="../slideLayouts/slideLayout411.xml"/><Relationship Id="rId145" Type="http://schemas.openxmlformats.org/officeDocument/2006/relationships/slideLayout" Target="../slideLayouts/slideLayout416.xml"/><Relationship Id="rId1" Type="http://schemas.openxmlformats.org/officeDocument/2006/relationships/slideLayout" Target="../slideLayouts/slideLayout272.xml"/><Relationship Id="rId6" Type="http://schemas.openxmlformats.org/officeDocument/2006/relationships/slideLayout" Target="../slideLayouts/slideLayout277.xml"/><Relationship Id="rId23" Type="http://schemas.openxmlformats.org/officeDocument/2006/relationships/slideLayout" Target="../slideLayouts/slideLayout294.xml"/><Relationship Id="rId28" Type="http://schemas.openxmlformats.org/officeDocument/2006/relationships/slideLayout" Target="../slideLayouts/slideLayout299.xml"/><Relationship Id="rId49" Type="http://schemas.openxmlformats.org/officeDocument/2006/relationships/slideLayout" Target="../slideLayouts/slideLayout320.xml"/><Relationship Id="rId114" Type="http://schemas.openxmlformats.org/officeDocument/2006/relationships/slideLayout" Target="../slideLayouts/slideLayout385.xml"/><Relationship Id="rId119" Type="http://schemas.openxmlformats.org/officeDocument/2006/relationships/slideLayout" Target="../slideLayouts/slideLayout390.xml"/><Relationship Id="rId44" Type="http://schemas.openxmlformats.org/officeDocument/2006/relationships/slideLayout" Target="../slideLayouts/slideLayout315.xml"/><Relationship Id="rId60" Type="http://schemas.openxmlformats.org/officeDocument/2006/relationships/slideLayout" Target="../slideLayouts/slideLayout331.xml"/><Relationship Id="rId65" Type="http://schemas.openxmlformats.org/officeDocument/2006/relationships/slideLayout" Target="../slideLayouts/slideLayout336.xml"/><Relationship Id="rId81" Type="http://schemas.openxmlformats.org/officeDocument/2006/relationships/slideLayout" Target="../slideLayouts/slideLayout352.xml"/><Relationship Id="rId86" Type="http://schemas.openxmlformats.org/officeDocument/2006/relationships/slideLayout" Target="../slideLayouts/slideLayout357.xml"/><Relationship Id="rId130" Type="http://schemas.openxmlformats.org/officeDocument/2006/relationships/slideLayout" Target="../slideLayouts/slideLayout401.xml"/><Relationship Id="rId135" Type="http://schemas.openxmlformats.org/officeDocument/2006/relationships/slideLayout" Target="../slideLayouts/slideLayout406.xml"/><Relationship Id="rId13" Type="http://schemas.openxmlformats.org/officeDocument/2006/relationships/slideLayout" Target="../slideLayouts/slideLayout284.xml"/><Relationship Id="rId18" Type="http://schemas.openxmlformats.org/officeDocument/2006/relationships/slideLayout" Target="../slideLayouts/slideLayout289.xml"/><Relationship Id="rId39" Type="http://schemas.openxmlformats.org/officeDocument/2006/relationships/slideLayout" Target="../slideLayouts/slideLayout310.xml"/><Relationship Id="rId109" Type="http://schemas.openxmlformats.org/officeDocument/2006/relationships/slideLayout" Target="../slideLayouts/slideLayout380.xml"/><Relationship Id="rId34" Type="http://schemas.openxmlformats.org/officeDocument/2006/relationships/slideLayout" Target="../slideLayouts/slideLayout305.xml"/><Relationship Id="rId50" Type="http://schemas.openxmlformats.org/officeDocument/2006/relationships/slideLayout" Target="../slideLayouts/slideLayout321.xml"/><Relationship Id="rId55" Type="http://schemas.openxmlformats.org/officeDocument/2006/relationships/slideLayout" Target="../slideLayouts/slideLayout326.xml"/><Relationship Id="rId76" Type="http://schemas.openxmlformats.org/officeDocument/2006/relationships/slideLayout" Target="../slideLayouts/slideLayout347.xml"/><Relationship Id="rId97" Type="http://schemas.openxmlformats.org/officeDocument/2006/relationships/slideLayout" Target="../slideLayouts/slideLayout368.xml"/><Relationship Id="rId104" Type="http://schemas.openxmlformats.org/officeDocument/2006/relationships/slideLayout" Target="../slideLayouts/slideLayout375.xml"/><Relationship Id="rId120" Type="http://schemas.openxmlformats.org/officeDocument/2006/relationships/slideLayout" Target="../slideLayouts/slideLayout391.xml"/><Relationship Id="rId125" Type="http://schemas.openxmlformats.org/officeDocument/2006/relationships/slideLayout" Target="../slideLayouts/slideLayout396.xml"/><Relationship Id="rId141" Type="http://schemas.openxmlformats.org/officeDocument/2006/relationships/slideLayout" Target="../slideLayouts/slideLayout412.xml"/><Relationship Id="rId146" Type="http://schemas.openxmlformats.org/officeDocument/2006/relationships/slideLayout" Target="../slideLayouts/slideLayout417.xml"/><Relationship Id="rId7" Type="http://schemas.openxmlformats.org/officeDocument/2006/relationships/slideLayout" Target="../slideLayouts/slideLayout278.xml"/><Relationship Id="rId71" Type="http://schemas.openxmlformats.org/officeDocument/2006/relationships/slideLayout" Target="../slideLayouts/slideLayout342.xml"/><Relationship Id="rId92" Type="http://schemas.openxmlformats.org/officeDocument/2006/relationships/slideLayout" Target="../slideLayouts/slideLayout363.xml"/><Relationship Id="rId2" Type="http://schemas.openxmlformats.org/officeDocument/2006/relationships/slideLayout" Target="../slideLayouts/slideLayout273.xml"/><Relationship Id="rId29" Type="http://schemas.openxmlformats.org/officeDocument/2006/relationships/slideLayout" Target="../slideLayouts/slideLayout300.xml"/><Relationship Id="rId24" Type="http://schemas.openxmlformats.org/officeDocument/2006/relationships/slideLayout" Target="../slideLayouts/slideLayout295.xml"/><Relationship Id="rId40" Type="http://schemas.openxmlformats.org/officeDocument/2006/relationships/slideLayout" Target="../slideLayouts/slideLayout311.xml"/><Relationship Id="rId45" Type="http://schemas.openxmlformats.org/officeDocument/2006/relationships/slideLayout" Target="../slideLayouts/slideLayout316.xml"/><Relationship Id="rId66" Type="http://schemas.openxmlformats.org/officeDocument/2006/relationships/slideLayout" Target="../slideLayouts/slideLayout337.xml"/><Relationship Id="rId87" Type="http://schemas.openxmlformats.org/officeDocument/2006/relationships/slideLayout" Target="../slideLayouts/slideLayout358.xml"/><Relationship Id="rId110" Type="http://schemas.openxmlformats.org/officeDocument/2006/relationships/slideLayout" Target="../slideLayouts/slideLayout381.xml"/><Relationship Id="rId115" Type="http://schemas.openxmlformats.org/officeDocument/2006/relationships/slideLayout" Target="../slideLayouts/slideLayout386.xml"/><Relationship Id="rId131" Type="http://schemas.openxmlformats.org/officeDocument/2006/relationships/slideLayout" Target="../slideLayouts/slideLayout402.xml"/><Relationship Id="rId136" Type="http://schemas.openxmlformats.org/officeDocument/2006/relationships/slideLayout" Target="../slideLayouts/slideLayout407.xml"/><Relationship Id="rId61" Type="http://schemas.openxmlformats.org/officeDocument/2006/relationships/slideLayout" Target="../slideLayouts/slideLayout332.xml"/><Relationship Id="rId82" Type="http://schemas.openxmlformats.org/officeDocument/2006/relationships/slideLayout" Target="../slideLayouts/slideLayout353.xml"/><Relationship Id="rId19" Type="http://schemas.openxmlformats.org/officeDocument/2006/relationships/slideLayout" Target="../slideLayouts/slideLayout290.xml"/><Relationship Id="rId14" Type="http://schemas.openxmlformats.org/officeDocument/2006/relationships/slideLayout" Target="../slideLayouts/slideLayout285.xml"/><Relationship Id="rId30" Type="http://schemas.openxmlformats.org/officeDocument/2006/relationships/slideLayout" Target="../slideLayouts/slideLayout301.xml"/><Relationship Id="rId35" Type="http://schemas.openxmlformats.org/officeDocument/2006/relationships/slideLayout" Target="../slideLayouts/slideLayout306.xml"/><Relationship Id="rId56" Type="http://schemas.openxmlformats.org/officeDocument/2006/relationships/slideLayout" Target="../slideLayouts/slideLayout327.xml"/><Relationship Id="rId77" Type="http://schemas.openxmlformats.org/officeDocument/2006/relationships/slideLayout" Target="../slideLayouts/slideLayout348.xml"/><Relationship Id="rId100" Type="http://schemas.openxmlformats.org/officeDocument/2006/relationships/slideLayout" Target="../slideLayouts/slideLayout371.xml"/><Relationship Id="rId105" Type="http://schemas.openxmlformats.org/officeDocument/2006/relationships/slideLayout" Target="../slideLayouts/slideLayout376.xml"/><Relationship Id="rId126" Type="http://schemas.openxmlformats.org/officeDocument/2006/relationships/slideLayout" Target="../slideLayouts/slideLayout397.xml"/><Relationship Id="rId147" Type="http://schemas.openxmlformats.org/officeDocument/2006/relationships/slideLayout" Target="../slideLayouts/slideLayout418.xml"/><Relationship Id="rId8" Type="http://schemas.openxmlformats.org/officeDocument/2006/relationships/slideLayout" Target="../slideLayouts/slideLayout279.xml"/><Relationship Id="rId51" Type="http://schemas.openxmlformats.org/officeDocument/2006/relationships/slideLayout" Target="../slideLayouts/slideLayout322.xml"/><Relationship Id="rId72" Type="http://schemas.openxmlformats.org/officeDocument/2006/relationships/slideLayout" Target="../slideLayouts/slideLayout343.xml"/><Relationship Id="rId93" Type="http://schemas.openxmlformats.org/officeDocument/2006/relationships/slideLayout" Target="../slideLayouts/slideLayout364.xml"/><Relationship Id="rId98" Type="http://schemas.openxmlformats.org/officeDocument/2006/relationships/slideLayout" Target="../slideLayouts/slideLayout369.xml"/><Relationship Id="rId121" Type="http://schemas.openxmlformats.org/officeDocument/2006/relationships/slideLayout" Target="../slideLayouts/slideLayout392.xml"/><Relationship Id="rId142" Type="http://schemas.openxmlformats.org/officeDocument/2006/relationships/slideLayout" Target="../slideLayouts/slideLayout413.xml"/><Relationship Id="rId3" Type="http://schemas.openxmlformats.org/officeDocument/2006/relationships/slideLayout" Target="../slideLayouts/slideLayout274.xml"/><Relationship Id="rId25" Type="http://schemas.openxmlformats.org/officeDocument/2006/relationships/slideLayout" Target="../slideLayouts/slideLayout296.xml"/><Relationship Id="rId46" Type="http://schemas.openxmlformats.org/officeDocument/2006/relationships/slideLayout" Target="../slideLayouts/slideLayout317.xml"/><Relationship Id="rId67" Type="http://schemas.openxmlformats.org/officeDocument/2006/relationships/slideLayout" Target="../slideLayouts/slideLayout338.xml"/><Relationship Id="rId116" Type="http://schemas.openxmlformats.org/officeDocument/2006/relationships/slideLayout" Target="../slideLayouts/slideLayout387.xml"/><Relationship Id="rId137" Type="http://schemas.openxmlformats.org/officeDocument/2006/relationships/slideLayout" Target="../slideLayouts/slideLayout408.xml"/><Relationship Id="rId20" Type="http://schemas.openxmlformats.org/officeDocument/2006/relationships/slideLayout" Target="../slideLayouts/slideLayout291.xml"/><Relationship Id="rId41" Type="http://schemas.openxmlformats.org/officeDocument/2006/relationships/slideLayout" Target="../slideLayouts/slideLayout312.xml"/><Relationship Id="rId62" Type="http://schemas.openxmlformats.org/officeDocument/2006/relationships/slideLayout" Target="../slideLayouts/slideLayout333.xml"/><Relationship Id="rId83" Type="http://schemas.openxmlformats.org/officeDocument/2006/relationships/slideLayout" Target="../slideLayouts/slideLayout354.xml"/><Relationship Id="rId88" Type="http://schemas.openxmlformats.org/officeDocument/2006/relationships/slideLayout" Target="../slideLayouts/slideLayout359.xml"/><Relationship Id="rId111" Type="http://schemas.openxmlformats.org/officeDocument/2006/relationships/slideLayout" Target="../slideLayouts/slideLayout382.xml"/><Relationship Id="rId132" Type="http://schemas.openxmlformats.org/officeDocument/2006/relationships/slideLayout" Target="../slideLayouts/slideLayout403.xml"/><Relationship Id="rId15" Type="http://schemas.openxmlformats.org/officeDocument/2006/relationships/slideLayout" Target="../slideLayouts/slideLayout286.xml"/><Relationship Id="rId36" Type="http://schemas.openxmlformats.org/officeDocument/2006/relationships/slideLayout" Target="../slideLayouts/slideLayout307.xml"/><Relationship Id="rId57" Type="http://schemas.openxmlformats.org/officeDocument/2006/relationships/slideLayout" Target="../slideLayouts/slideLayout328.xml"/><Relationship Id="rId106" Type="http://schemas.openxmlformats.org/officeDocument/2006/relationships/slideLayout" Target="../slideLayouts/slideLayout377.xml"/><Relationship Id="rId127" Type="http://schemas.openxmlformats.org/officeDocument/2006/relationships/slideLayout" Target="../slideLayouts/slideLayout398.xml"/><Relationship Id="rId10" Type="http://schemas.openxmlformats.org/officeDocument/2006/relationships/slideLayout" Target="../slideLayouts/slideLayout281.xml"/><Relationship Id="rId31" Type="http://schemas.openxmlformats.org/officeDocument/2006/relationships/slideLayout" Target="../slideLayouts/slideLayout302.xml"/><Relationship Id="rId52" Type="http://schemas.openxmlformats.org/officeDocument/2006/relationships/slideLayout" Target="../slideLayouts/slideLayout323.xml"/><Relationship Id="rId73" Type="http://schemas.openxmlformats.org/officeDocument/2006/relationships/slideLayout" Target="../slideLayouts/slideLayout344.xml"/><Relationship Id="rId78" Type="http://schemas.openxmlformats.org/officeDocument/2006/relationships/slideLayout" Target="../slideLayouts/slideLayout349.xml"/><Relationship Id="rId94" Type="http://schemas.openxmlformats.org/officeDocument/2006/relationships/slideLayout" Target="../slideLayouts/slideLayout365.xml"/><Relationship Id="rId99" Type="http://schemas.openxmlformats.org/officeDocument/2006/relationships/slideLayout" Target="../slideLayouts/slideLayout370.xml"/><Relationship Id="rId101" Type="http://schemas.openxmlformats.org/officeDocument/2006/relationships/slideLayout" Target="../slideLayouts/slideLayout372.xml"/><Relationship Id="rId122" Type="http://schemas.openxmlformats.org/officeDocument/2006/relationships/slideLayout" Target="../slideLayouts/slideLayout393.xml"/><Relationship Id="rId143" Type="http://schemas.openxmlformats.org/officeDocument/2006/relationships/slideLayout" Target="../slideLayouts/slideLayout414.xml"/><Relationship Id="rId148" Type="http://schemas.openxmlformats.org/officeDocument/2006/relationships/slideLayout" Target="../slideLayouts/slideLayout419.xml"/><Relationship Id="rId4" Type="http://schemas.openxmlformats.org/officeDocument/2006/relationships/slideLayout" Target="../slideLayouts/slideLayout275.xml"/><Relationship Id="rId9" Type="http://schemas.openxmlformats.org/officeDocument/2006/relationships/slideLayout" Target="../slideLayouts/slideLayout280.xml"/><Relationship Id="rId26" Type="http://schemas.openxmlformats.org/officeDocument/2006/relationships/slideLayout" Target="../slideLayouts/slideLayout297.xml"/><Relationship Id="rId47" Type="http://schemas.openxmlformats.org/officeDocument/2006/relationships/slideLayout" Target="../slideLayouts/slideLayout318.xml"/><Relationship Id="rId68" Type="http://schemas.openxmlformats.org/officeDocument/2006/relationships/slideLayout" Target="../slideLayouts/slideLayout339.xml"/><Relationship Id="rId89" Type="http://schemas.openxmlformats.org/officeDocument/2006/relationships/slideLayout" Target="../slideLayouts/slideLayout360.xml"/><Relationship Id="rId112" Type="http://schemas.openxmlformats.org/officeDocument/2006/relationships/slideLayout" Target="../slideLayouts/slideLayout383.xml"/><Relationship Id="rId133" Type="http://schemas.openxmlformats.org/officeDocument/2006/relationships/slideLayout" Target="../slideLayouts/slideLayout404.xml"/><Relationship Id="rId16" Type="http://schemas.openxmlformats.org/officeDocument/2006/relationships/slideLayout" Target="../slideLayouts/slideLayout287.xml"/><Relationship Id="rId37" Type="http://schemas.openxmlformats.org/officeDocument/2006/relationships/slideLayout" Target="../slideLayouts/slideLayout308.xml"/><Relationship Id="rId58" Type="http://schemas.openxmlformats.org/officeDocument/2006/relationships/slideLayout" Target="../slideLayouts/slideLayout329.xml"/><Relationship Id="rId79" Type="http://schemas.openxmlformats.org/officeDocument/2006/relationships/slideLayout" Target="../slideLayouts/slideLayout350.xml"/><Relationship Id="rId102" Type="http://schemas.openxmlformats.org/officeDocument/2006/relationships/slideLayout" Target="../slideLayouts/slideLayout373.xml"/><Relationship Id="rId123" Type="http://schemas.openxmlformats.org/officeDocument/2006/relationships/slideLayout" Target="../slideLayouts/slideLayout394.xml"/><Relationship Id="rId144" Type="http://schemas.openxmlformats.org/officeDocument/2006/relationships/slideLayout" Target="../slideLayouts/slideLayout415.xml"/><Relationship Id="rId90" Type="http://schemas.openxmlformats.org/officeDocument/2006/relationships/slideLayout" Target="../slideLayouts/slideLayout361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537.xml"/><Relationship Id="rId299" Type="http://schemas.openxmlformats.org/officeDocument/2006/relationships/slideLayout" Target="../slideLayouts/slideLayout719.xml"/><Relationship Id="rId21" Type="http://schemas.openxmlformats.org/officeDocument/2006/relationships/slideLayout" Target="../slideLayouts/slideLayout441.xml"/><Relationship Id="rId63" Type="http://schemas.openxmlformats.org/officeDocument/2006/relationships/slideLayout" Target="../slideLayouts/slideLayout483.xml"/><Relationship Id="rId159" Type="http://schemas.openxmlformats.org/officeDocument/2006/relationships/slideLayout" Target="../slideLayouts/slideLayout579.xml"/><Relationship Id="rId324" Type="http://schemas.openxmlformats.org/officeDocument/2006/relationships/slideLayout" Target="../slideLayouts/slideLayout744.xml"/><Relationship Id="rId366" Type="http://schemas.openxmlformats.org/officeDocument/2006/relationships/slideLayout" Target="../slideLayouts/slideLayout786.xml"/><Relationship Id="rId170" Type="http://schemas.openxmlformats.org/officeDocument/2006/relationships/slideLayout" Target="../slideLayouts/slideLayout590.xml"/><Relationship Id="rId226" Type="http://schemas.openxmlformats.org/officeDocument/2006/relationships/slideLayout" Target="../slideLayouts/slideLayout646.xml"/><Relationship Id="rId433" Type="http://schemas.openxmlformats.org/officeDocument/2006/relationships/slideLayout" Target="../slideLayouts/slideLayout853.xml"/><Relationship Id="rId268" Type="http://schemas.openxmlformats.org/officeDocument/2006/relationships/slideLayout" Target="../slideLayouts/slideLayout688.xml"/><Relationship Id="rId475" Type="http://schemas.openxmlformats.org/officeDocument/2006/relationships/slideLayout" Target="../slideLayouts/slideLayout895.xml"/><Relationship Id="rId32" Type="http://schemas.openxmlformats.org/officeDocument/2006/relationships/slideLayout" Target="../slideLayouts/slideLayout452.xml"/><Relationship Id="rId74" Type="http://schemas.openxmlformats.org/officeDocument/2006/relationships/slideLayout" Target="../slideLayouts/slideLayout494.xml"/><Relationship Id="rId128" Type="http://schemas.openxmlformats.org/officeDocument/2006/relationships/slideLayout" Target="../slideLayouts/slideLayout548.xml"/><Relationship Id="rId335" Type="http://schemas.openxmlformats.org/officeDocument/2006/relationships/slideLayout" Target="../slideLayouts/slideLayout755.xml"/><Relationship Id="rId377" Type="http://schemas.openxmlformats.org/officeDocument/2006/relationships/slideLayout" Target="../slideLayouts/slideLayout797.xml"/><Relationship Id="rId500" Type="http://schemas.openxmlformats.org/officeDocument/2006/relationships/slideLayout" Target="../slideLayouts/slideLayout920.xml"/><Relationship Id="rId5" Type="http://schemas.openxmlformats.org/officeDocument/2006/relationships/slideLayout" Target="../slideLayouts/slideLayout425.xml"/><Relationship Id="rId181" Type="http://schemas.openxmlformats.org/officeDocument/2006/relationships/slideLayout" Target="../slideLayouts/slideLayout601.xml"/><Relationship Id="rId237" Type="http://schemas.openxmlformats.org/officeDocument/2006/relationships/slideLayout" Target="../slideLayouts/slideLayout657.xml"/><Relationship Id="rId402" Type="http://schemas.openxmlformats.org/officeDocument/2006/relationships/slideLayout" Target="../slideLayouts/slideLayout822.xml"/><Relationship Id="rId279" Type="http://schemas.openxmlformats.org/officeDocument/2006/relationships/slideLayout" Target="../slideLayouts/slideLayout699.xml"/><Relationship Id="rId444" Type="http://schemas.openxmlformats.org/officeDocument/2006/relationships/slideLayout" Target="../slideLayouts/slideLayout864.xml"/><Relationship Id="rId486" Type="http://schemas.openxmlformats.org/officeDocument/2006/relationships/slideLayout" Target="../slideLayouts/slideLayout906.xml"/><Relationship Id="rId43" Type="http://schemas.openxmlformats.org/officeDocument/2006/relationships/slideLayout" Target="../slideLayouts/slideLayout463.xml"/><Relationship Id="rId139" Type="http://schemas.openxmlformats.org/officeDocument/2006/relationships/slideLayout" Target="../slideLayouts/slideLayout559.xml"/><Relationship Id="rId290" Type="http://schemas.openxmlformats.org/officeDocument/2006/relationships/slideLayout" Target="../slideLayouts/slideLayout710.xml"/><Relationship Id="rId304" Type="http://schemas.openxmlformats.org/officeDocument/2006/relationships/slideLayout" Target="../slideLayouts/slideLayout724.xml"/><Relationship Id="rId346" Type="http://schemas.openxmlformats.org/officeDocument/2006/relationships/slideLayout" Target="../slideLayouts/slideLayout766.xml"/><Relationship Id="rId388" Type="http://schemas.openxmlformats.org/officeDocument/2006/relationships/slideLayout" Target="../slideLayouts/slideLayout808.xml"/><Relationship Id="rId85" Type="http://schemas.openxmlformats.org/officeDocument/2006/relationships/slideLayout" Target="../slideLayouts/slideLayout505.xml"/><Relationship Id="rId150" Type="http://schemas.openxmlformats.org/officeDocument/2006/relationships/slideLayout" Target="../slideLayouts/slideLayout570.xml"/><Relationship Id="rId192" Type="http://schemas.openxmlformats.org/officeDocument/2006/relationships/slideLayout" Target="../slideLayouts/slideLayout612.xml"/><Relationship Id="rId206" Type="http://schemas.openxmlformats.org/officeDocument/2006/relationships/slideLayout" Target="../slideLayouts/slideLayout626.xml"/><Relationship Id="rId413" Type="http://schemas.openxmlformats.org/officeDocument/2006/relationships/slideLayout" Target="../slideLayouts/slideLayout833.xml"/><Relationship Id="rId248" Type="http://schemas.openxmlformats.org/officeDocument/2006/relationships/slideLayout" Target="../slideLayouts/slideLayout668.xml"/><Relationship Id="rId455" Type="http://schemas.openxmlformats.org/officeDocument/2006/relationships/slideLayout" Target="../slideLayouts/slideLayout875.xml"/><Relationship Id="rId497" Type="http://schemas.openxmlformats.org/officeDocument/2006/relationships/slideLayout" Target="../slideLayouts/slideLayout917.xml"/><Relationship Id="rId12" Type="http://schemas.openxmlformats.org/officeDocument/2006/relationships/slideLayout" Target="../slideLayouts/slideLayout432.xml"/><Relationship Id="rId108" Type="http://schemas.openxmlformats.org/officeDocument/2006/relationships/slideLayout" Target="../slideLayouts/slideLayout528.xml"/><Relationship Id="rId315" Type="http://schemas.openxmlformats.org/officeDocument/2006/relationships/slideLayout" Target="../slideLayouts/slideLayout735.xml"/><Relationship Id="rId357" Type="http://schemas.openxmlformats.org/officeDocument/2006/relationships/slideLayout" Target="../slideLayouts/slideLayout777.xml"/><Relationship Id="rId54" Type="http://schemas.openxmlformats.org/officeDocument/2006/relationships/slideLayout" Target="../slideLayouts/slideLayout474.xml"/><Relationship Id="rId96" Type="http://schemas.openxmlformats.org/officeDocument/2006/relationships/slideLayout" Target="../slideLayouts/slideLayout516.xml"/><Relationship Id="rId161" Type="http://schemas.openxmlformats.org/officeDocument/2006/relationships/slideLayout" Target="../slideLayouts/slideLayout581.xml"/><Relationship Id="rId217" Type="http://schemas.openxmlformats.org/officeDocument/2006/relationships/slideLayout" Target="../slideLayouts/slideLayout637.xml"/><Relationship Id="rId399" Type="http://schemas.openxmlformats.org/officeDocument/2006/relationships/slideLayout" Target="../slideLayouts/slideLayout819.xml"/><Relationship Id="rId259" Type="http://schemas.openxmlformats.org/officeDocument/2006/relationships/slideLayout" Target="../slideLayouts/slideLayout679.xml"/><Relationship Id="rId424" Type="http://schemas.openxmlformats.org/officeDocument/2006/relationships/slideLayout" Target="../slideLayouts/slideLayout844.xml"/><Relationship Id="rId466" Type="http://schemas.openxmlformats.org/officeDocument/2006/relationships/slideLayout" Target="../slideLayouts/slideLayout886.xml"/><Relationship Id="rId23" Type="http://schemas.openxmlformats.org/officeDocument/2006/relationships/slideLayout" Target="../slideLayouts/slideLayout443.xml"/><Relationship Id="rId119" Type="http://schemas.openxmlformats.org/officeDocument/2006/relationships/slideLayout" Target="../slideLayouts/slideLayout539.xml"/><Relationship Id="rId270" Type="http://schemas.openxmlformats.org/officeDocument/2006/relationships/slideLayout" Target="../slideLayouts/slideLayout690.xml"/><Relationship Id="rId326" Type="http://schemas.openxmlformats.org/officeDocument/2006/relationships/slideLayout" Target="../slideLayouts/slideLayout746.xml"/><Relationship Id="rId65" Type="http://schemas.openxmlformats.org/officeDocument/2006/relationships/slideLayout" Target="../slideLayouts/slideLayout485.xml"/><Relationship Id="rId130" Type="http://schemas.openxmlformats.org/officeDocument/2006/relationships/slideLayout" Target="../slideLayouts/slideLayout550.xml"/><Relationship Id="rId368" Type="http://schemas.openxmlformats.org/officeDocument/2006/relationships/slideLayout" Target="../slideLayouts/slideLayout788.xml"/><Relationship Id="rId172" Type="http://schemas.openxmlformats.org/officeDocument/2006/relationships/slideLayout" Target="../slideLayouts/slideLayout592.xml"/><Relationship Id="rId228" Type="http://schemas.openxmlformats.org/officeDocument/2006/relationships/slideLayout" Target="../slideLayouts/slideLayout648.xml"/><Relationship Id="rId435" Type="http://schemas.openxmlformats.org/officeDocument/2006/relationships/slideLayout" Target="../slideLayouts/slideLayout855.xml"/><Relationship Id="rId477" Type="http://schemas.openxmlformats.org/officeDocument/2006/relationships/slideLayout" Target="../slideLayouts/slideLayout897.xml"/><Relationship Id="rId281" Type="http://schemas.openxmlformats.org/officeDocument/2006/relationships/slideLayout" Target="../slideLayouts/slideLayout701.xml"/><Relationship Id="rId337" Type="http://schemas.openxmlformats.org/officeDocument/2006/relationships/slideLayout" Target="../slideLayouts/slideLayout757.xml"/><Relationship Id="rId502" Type="http://schemas.openxmlformats.org/officeDocument/2006/relationships/slideLayout" Target="../slideLayouts/slideLayout922.xml"/><Relationship Id="rId34" Type="http://schemas.openxmlformats.org/officeDocument/2006/relationships/slideLayout" Target="../slideLayouts/slideLayout454.xml"/><Relationship Id="rId76" Type="http://schemas.openxmlformats.org/officeDocument/2006/relationships/slideLayout" Target="../slideLayouts/slideLayout496.xml"/><Relationship Id="rId141" Type="http://schemas.openxmlformats.org/officeDocument/2006/relationships/slideLayout" Target="../slideLayouts/slideLayout561.xml"/><Relationship Id="rId379" Type="http://schemas.openxmlformats.org/officeDocument/2006/relationships/slideLayout" Target="../slideLayouts/slideLayout799.xml"/><Relationship Id="rId7" Type="http://schemas.openxmlformats.org/officeDocument/2006/relationships/slideLayout" Target="../slideLayouts/slideLayout427.xml"/><Relationship Id="rId183" Type="http://schemas.openxmlformats.org/officeDocument/2006/relationships/slideLayout" Target="../slideLayouts/slideLayout603.xml"/><Relationship Id="rId239" Type="http://schemas.openxmlformats.org/officeDocument/2006/relationships/slideLayout" Target="../slideLayouts/slideLayout659.xml"/><Relationship Id="rId390" Type="http://schemas.openxmlformats.org/officeDocument/2006/relationships/slideLayout" Target="../slideLayouts/slideLayout810.xml"/><Relationship Id="rId404" Type="http://schemas.openxmlformats.org/officeDocument/2006/relationships/slideLayout" Target="../slideLayouts/slideLayout824.xml"/><Relationship Id="rId446" Type="http://schemas.openxmlformats.org/officeDocument/2006/relationships/slideLayout" Target="../slideLayouts/slideLayout866.xml"/><Relationship Id="rId250" Type="http://schemas.openxmlformats.org/officeDocument/2006/relationships/slideLayout" Target="../slideLayouts/slideLayout670.xml"/><Relationship Id="rId292" Type="http://schemas.openxmlformats.org/officeDocument/2006/relationships/slideLayout" Target="../slideLayouts/slideLayout712.xml"/><Relationship Id="rId306" Type="http://schemas.openxmlformats.org/officeDocument/2006/relationships/slideLayout" Target="../slideLayouts/slideLayout726.xml"/><Relationship Id="rId488" Type="http://schemas.openxmlformats.org/officeDocument/2006/relationships/slideLayout" Target="../slideLayouts/slideLayout908.xml"/><Relationship Id="rId45" Type="http://schemas.openxmlformats.org/officeDocument/2006/relationships/slideLayout" Target="../slideLayouts/slideLayout465.xml"/><Relationship Id="rId87" Type="http://schemas.openxmlformats.org/officeDocument/2006/relationships/slideLayout" Target="../slideLayouts/slideLayout507.xml"/><Relationship Id="rId110" Type="http://schemas.openxmlformats.org/officeDocument/2006/relationships/slideLayout" Target="../slideLayouts/slideLayout530.xml"/><Relationship Id="rId348" Type="http://schemas.openxmlformats.org/officeDocument/2006/relationships/slideLayout" Target="../slideLayouts/slideLayout768.xml"/><Relationship Id="rId152" Type="http://schemas.openxmlformats.org/officeDocument/2006/relationships/slideLayout" Target="../slideLayouts/slideLayout572.xml"/><Relationship Id="rId194" Type="http://schemas.openxmlformats.org/officeDocument/2006/relationships/slideLayout" Target="../slideLayouts/slideLayout614.xml"/><Relationship Id="rId208" Type="http://schemas.openxmlformats.org/officeDocument/2006/relationships/slideLayout" Target="../slideLayouts/slideLayout628.xml"/><Relationship Id="rId415" Type="http://schemas.openxmlformats.org/officeDocument/2006/relationships/slideLayout" Target="../slideLayouts/slideLayout835.xml"/><Relationship Id="rId457" Type="http://schemas.openxmlformats.org/officeDocument/2006/relationships/slideLayout" Target="../slideLayouts/slideLayout877.xml"/><Relationship Id="rId261" Type="http://schemas.openxmlformats.org/officeDocument/2006/relationships/slideLayout" Target="../slideLayouts/slideLayout681.xml"/><Relationship Id="rId499" Type="http://schemas.openxmlformats.org/officeDocument/2006/relationships/slideLayout" Target="../slideLayouts/slideLayout919.xml"/><Relationship Id="rId14" Type="http://schemas.openxmlformats.org/officeDocument/2006/relationships/slideLayout" Target="../slideLayouts/slideLayout434.xml"/><Relationship Id="rId56" Type="http://schemas.openxmlformats.org/officeDocument/2006/relationships/slideLayout" Target="../slideLayouts/slideLayout476.xml"/><Relationship Id="rId317" Type="http://schemas.openxmlformats.org/officeDocument/2006/relationships/slideLayout" Target="../slideLayouts/slideLayout737.xml"/><Relationship Id="rId359" Type="http://schemas.openxmlformats.org/officeDocument/2006/relationships/slideLayout" Target="../slideLayouts/slideLayout779.xml"/><Relationship Id="rId98" Type="http://schemas.openxmlformats.org/officeDocument/2006/relationships/slideLayout" Target="../slideLayouts/slideLayout518.xml"/><Relationship Id="rId121" Type="http://schemas.openxmlformats.org/officeDocument/2006/relationships/slideLayout" Target="../slideLayouts/slideLayout541.xml"/><Relationship Id="rId163" Type="http://schemas.openxmlformats.org/officeDocument/2006/relationships/slideLayout" Target="../slideLayouts/slideLayout583.xml"/><Relationship Id="rId219" Type="http://schemas.openxmlformats.org/officeDocument/2006/relationships/slideLayout" Target="../slideLayouts/slideLayout639.xml"/><Relationship Id="rId370" Type="http://schemas.openxmlformats.org/officeDocument/2006/relationships/slideLayout" Target="../slideLayouts/slideLayout790.xml"/><Relationship Id="rId426" Type="http://schemas.openxmlformats.org/officeDocument/2006/relationships/slideLayout" Target="../slideLayouts/slideLayout846.xml"/><Relationship Id="rId230" Type="http://schemas.openxmlformats.org/officeDocument/2006/relationships/slideLayout" Target="../slideLayouts/slideLayout650.xml"/><Relationship Id="rId468" Type="http://schemas.openxmlformats.org/officeDocument/2006/relationships/slideLayout" Target="../slideLayouts/slideLayout888.xml"/><Relationship Id="rId25" Type="http://schemas.openxmlformats.org/officeDocument/2006/relationships/slideLayout" Target="../slideLayouts/slideLayout445.xml"/><Relationship Id="rId67" Type="http://schemas.openxmlformats.org/officeDocument/2006/relationships/slideLayout" Target="../slideLayouts/slideLayout487.xml"/><Relationship Id="rId272" Type="http://schemas.openxmlformats.org/officeDocument/2006/relationships/slideLayout" Target="../slideLayouts/slideLayout692.xml"/><Relationship Id="rId328" Type="http://schemas.openxmlformats.org/officeDocument/2006/relationships/slideLayout" Target="../slideLayouts/slideLayout748.xml"/><Relationship Id="rId132" Type="http://schemas.openxmlformats.org/officeDocument/2006/relationships/slideLayout" Target="../slideLayouts/slideLayout552.xml"/><Relationship Id="rId174" Type="http://schemas.openxmlformats.org/officeDocument/2006/relationships/slideLayout" Target="../slideLayouts/slideLayout594.xml"/><Relationship Id="rId381" Type="http://schemas.openxmlformats.org/officeDocument/2006/relationships/slideLayout" Target="../slideLayouts/slideLayout801.xml"/><Relationship Id="rId241" Type="http://schemas.openxmlformats.org/officeDocument/2006/relationships/slideLayout" Target="../slideLayouts/slideLayout661.xml"/><Relationship Id="rId437" Type="http://schemas.openxmlformats.org/officeDocument/2006/relationships/slideLayout" Target="../slideLayouts/slideLayout857.xml"/><Relationship Id="rId479" Type="http://schemas.openxmlformats.org/officeDocument/2006/relationships/slideLayout" Target="../slideLayouts/slideLayout899.xml"/><Relationship Id="rId36" Type="http://schemas.openxmlformats.org/officeDocument/2006/relationships/slideLayout" Target="../slideLayouts/slideLayout456.xml"/><Relationship Id="rId283" Type="http://schemas.openxmlformats.org/officeDocument/2006/relationships/slideLayout" Target="../slideLayouts/slideLayout703.xml"/><Relationship Id="rId339" Type="http://schemas.openxmlformats.org/officeDocument/2006/relationships/slideLayout" Target="../slideLayouts/slideLayout759.xml"/><Relationship Id="rId490" Type="http://schemas.openxmlformats.org/officeDocument/2006/relationships/slideLayout" Target="../slideLayouts/slideLayout910.xml"/><Relationship Id="rId504" Type="http://schemas.openxmlformats.org/officeDocument/2006/relationships/slideLayout" Target="../slideLayouts/slideLayout924.xml"/><Relationship Id="rId78" Type="http://schemas.openxmlformats.org/officeDocument/2006/relationships/slideLayout" Target="../slideLayouts/slideLayout498.xml"/><Relationship Id="rId101" Type="http://schemas.openxmlformats.org/officeDocument/2006/relationships/slideLayout" Target="../slideLayouts/slideLayout521.xml"/><Relationship Id="rId143" Type="http://schemas.openxmlformats.org/officeDocument/2006/relationships/slideLayout" Target="../slideLayouts/slideLayout563.xml"/><Relationship Id="rId185" Type="http://schemas.openxmlformats.org/officeDocument/2006/relationships/slideLayout" Target="../slideLayouts/slideLayout605.xml"/><Relationship Id="rId350" Type="http://schemas.openxmlformats.org/officeDocument/2006/relationships/slideLayout" Target="../slideLayouts/slideLayout770.xml"/><Relationship Id="rId406" Type="http://schemas.openxmlformats.org/officeDocument/2006/relationships/slideLayout" Target="../slideLayouts/slideLayout826.xml"/><Relationship Id="rId9" Type="http://schemas.openxmlformats.org/officeDocument/2006/relationships/slideLayout" Target="../slideLayouts/slideLayout429.xml"/><Relationship Id="rId210" Type="http://schemas.openxmlformats.org/officeDocument/2006/relationships/slideLayout" Target="../slideLayouts/slideLayout630.xml"/><Relationship Id="rId392" Type="http://schemas.openxmlformats.org/officeDocument/2006/relationships/slideLayout" Target="../slideLayouts/slideLayout812.xml"/><Relationship Id="rId448" Type="http://schemas.openxmlformats.org/officeDocument/2006/relationships/slideLayout" Target="../slideLayouts/slideLayout868.xml"/><Relationship Id="rId252" Type="http://schemas.openxmlformats.org/officeDocument/2006/relationships/slideLayout" Target="../slideLayouts/slideLayout672.xml"/><Relationship Id="rId294" Type="http://schemas.openxmlformats.org/officeDocument/2006/relationships/slideLayout" Target="../slideLayouts/slideLayout714.xml"/><Relationship Id="rId308" Type="http://schemas.openxmlformats.org/officeDocument/2006/relationships/slideLayout" Target="../slideLayouts/slideLayout728.xml"/><Relationship Id="rId47" Type="http://schemas.openxmlformats.org/officeDocument/2006/relationships/slideLayout" Target="../slideLayouts/slideLayout467.xml"/><Relationship Id="rId89" Type="http://schemas.openxmlformats.org/officeDocument/2006/relationships/slideLayout" Target="../slideLayouts/slideLayout509.xml"/><Relationship Id="rId112" Type="http://schemas.openxmlformats.org/officeDocument/2006/relationships/slideLayout" Target="../slideLayouts/slideLayout532.xml"/><Relationship Id="rId154" Type="http://schemas.openxmlformats.org/officeDocument/2006/relationships/slideLayout" Target="../slideLayouts/slideLayout574.xml"/><Relationship Id="rId361" Type="http://schemas.openxmlformats.org/officeDocument/2006/relationships/slideLayout" Target="../slideLayouts/slideLayout781.xml"/><Relationship Id="rId196" Type="http://schemas.openxmlformats.org/officeDocument/2006/relationships/slideLayout" Target="../slideLayouts/slideLayout616.xml"/><Relationship Id="rId417" Type="http://schemas.openxmlformats.org/officeDocument/2006/relationships/slideLayout" Target="../slideLayouts/slideLayout837.xml"/><Relationship Id="rId459" Type="http://schemas.openxmlformats.org/officeDocument/2006/relationships/slideLayout" Target="../slideLayouts/slideLayout879.xml"/><Relationship Id="rId16" Type="http://schemas.openxmlformats.org/officeDocument/2006/relationships/slideLayout" Target="../slideLayouts/slideLayout436.xml"/><Relationship Id="rId221" Type="http://schemas.openxmlformats.org/officeDocument/2006/relationships/slideLayout" Target="../slideLayouts/slideLayout641.xml"/><Relationship Id="rId263" Type="http://schemas.openxmlformats.org/officeDocument/2006/relationships/slideLayout" Target="../slideLayouts/slideLayout683.xml"/><Relationship Id="rId319" Type="http://schemas.openxmlformats.org/officeDocument/2006/relationships/slideLayout" Target="../slideLayouts/slideLayout739.xml"/><Relationship Id="rId470" Type="http://schemas.openxmlformats.org/officeDocument/2006/relationships/slideLayout" Target="../slideLayouts/slideLayout890.xml"/><Relationship Id="rId58" Type="http://schemas.openxmlformats.org/officeDocument/2006/relationships/slideLayout" Target="../slideLayouts/slideLayout478.xml"/><Relationship Id="rId123" Type="http://schemas.openxmlformats.org/officeDocument/2006/relationships/slideLayout" Target="../slideLayouts/slideLayout543.xml"/><Relationship Id="rId330" Type="http://schemas.openxmlformats.org/officeDocument/2006/relationships/slideLayout" Target="../slideLayouts/slideLayout750.xml"/><Relationship Id="rId165" Type="http://schemas.openxmlformats.org/officeDocument/2006/relationships/slideLayout" Target="../slideLayouts/slideLayout585.xml"/><Relationship Id="rId372" Type="http://schemas.openxmlformats.org/officeDocument/2006/relationships/slideLayout" Target="../slideLayouts/slideLayout792.xml"/><Relationship Id="rId428" Type="http://schemas.openxmlformats.org/officeDocument/2006/relationships/slideLayout" Target="../slideLayouts/slideLayout848.xml"/><Relationship Id="rId232" Type="http://schemas.openxmlformats.org/officeDocument/2006/relationships/slideLayout" Target="../slideLayouts/slideLayout652.xml"/><Relationship Id="rId274" Type="http://schemas.openxmlformats.org/officeDocument/2006/relationships/slideLayout" Target="../slideLayouts/slideLayout694.xml"/><Relationship Id="rId481" Type="http://schemas.openxmlformats.org/officeDocument/2006/relationships/slideLayout" Target="../slideLayouts/slideLayout901.xml"/><Relationship Id="rId27" Type="http://schemas.openxmlformats.org/officeDocument/2006/relationships/slideLayout" Target="../slideLayouts/slideLayout447.xml"/><Relationship Id="rId69" Type="http://schemas.openxmlformats.org/officeDocument/2006/relationships/slideLayout" Target="../slideLayouts/slideLayout489.xml"/><Relationship Id="rId134" Type="http://schemas.openxmlformats.org/officeDocument/2006/relationships/slideLayout" Target="../slideLayouts/slideLayout554.xml"/><Relationship Id="rId80" Type="http://schemas.openxmlformats.org/officeDocument/2006/relationships/slideLayout" Target="../slideLayouts/slideLayout500.xml"/><Relationship Id="rId176" Type="http://schemas.openxmlformats.org/officeDocument/2006/relationships/slideLayout" Target="../slideLayouts/slideLayout596.xml"/><Relationship Id="rId341" Type="http://schemas.openxmlformats.org/officeDocument/2006/relationships/slideLayout" Target="../slideLayouts/slideLayout761.xml"/><Relationship Id="rId383" Type="http://schemas.openxmlformats.org/officeDocument/2006/relationships/slideLayout" Target="../slideLayouts/slideLayout803.xml"/><Relationship Id="rId439" Type="http://schemas.openxmlformats.org/officeDocument/2006/relationships/slideLayout" Target="../slideLayouts/slideLayout859.xml"/><Relationship Id="rId201" Type="http://schemas.openxmlformats.org/officeDocument/2006/relationships/slideLayout" Target="../slideLayouts/slideLayout621.xml"/><Relationship Id="rId243" Type="http://schemas.openxmlformats.org/officeDocument/2006/relationships/slideLayout" Target="../slideLayouts/slideLayout663.xml"/><Relationship Id="rId285" Type="http://schemas.openxmlformats.org/officeDocument/2006/relationships/slideLayout" Target="../slideLayouts/slideLayout705.xml"/><Relationship Id="rId450" Type="http://schemas.openxmlformats.org/officeDocument/2006/relationships/slideLayout" Target="../slideLayouts/slideLayout870.xml"/><Relationship Id="rId506" Type="http://schemas.openxmlformats.org/officeDocument/2006/relationships/slideLayout" Target="../slideLayouts/slideLayout926.xml"/><Relationship Id="rId38" Type="http://schemas.openxmlformats.org/officeDocument/2006/relationships/slideLayout" Target="../slideLayouts/slideLayout458.xml"/><Relationship Id="rId103" Type="http://schemas.openxmlformats.org/officeDocument/2006/relationships/slideLayout" Target="../slideLayouts/slideLayout523.xml"/><Relationship Id="rId310" Type="http://schemas.openxmlformats.org/officeDocument/2006/relationships/slideLayout" Target="../slideLayouts/slideLayout730.xml"/><Relationship Id="rId492" Type="http://schemas.openxmlformats.org/officeDocument/2006/relationships/slideLayout" Target="../slideLayouts/slideLayout912.xml"/><Relationship Id="rId91" Type="http://schemas.openxmlformats.org/officeDocument/2006/relationships/slideLayout" Target="../slideLayouts/slideLayout511.xml"/><Relationship Id="rId145" Type="http://schemas.openxmlformats.org/officeDocument/2006/relationships/slideLayout" Target="../slideLayouts/slideLayout565.xml"/><Relationship Id="rId187" Type="http://schemas.openxmlformats.org/officeDocument/2006/relationships/slideLayout" Target="../slideLayouts/slideLayout607.xml"/><Relationship Id="rId352" Type="http://schemas.openxmlformats.org/officeDocument/2006/relationships/slideLayout" Target="../slideLayouts/slideLayout772.xml"/><Relationship Id="rId394" Type="http://schemas.openxmlformats.org/officeDocument/2006/relationships/slideLayout" Target="../slideLayouts/slideLayout814.xml"/><Relationship Id="rId408" Type="http://schemas.openxmlformats.org/officeDocument/2006/relationships/slideLayout" Target="../slideLayouts/slideLayout828.xml"/><Relationship Id="rId212" Type="http://schemas.openxmlformats.org/officeDocument/2006/relationships/slideLayout" Target="../slideLayouts/slideLayout632.xml"/><Relationship Id="rId254" Type="http://schemas.openxmlformats.org/officeDocument/2006/relationships/slideLayout" Target="../slideLayouts/slideLayout674.xml"/><Relationship Id="rId49" Type="http://schemas.openxmlformats.org/officeDocument/2006/relationships/slideLayout" Target="../slideLayouts/slideLayout469.xml"/><Relationship Id="rId114" Type="http://schemas.openxmlformats.org/officeDocument/2006/relationships/slideLayout" Target="../slideLayouts/slideLayout534.xml"/><Relationship Id="rId296" Type="http://schemas.openxmlformats.org/officeDocument/2006/relationships/slideLayout" Target="../slideLayouts/slideLayout716.xml"/><Relationship Id="rId461" Type="http://schemas.openxmlformats.org/officeDocument/2006/relationships/slideLayout" Target="../slideLayouts/slideLayout881.xml"/><Relationship Id="rId60" Type="http://schemas.openxmlformats.org/officeDocument/2006/relationships/slideLayout" Target="../slideLayouts/slideLayout480.xml"/><Relationship Id="rId156" Type="http://schemas.openxmlformats.org/officeDocument/2006/relationships/slideLayout" Target="../slideLayouts/slideLayout576.xml"/><Relationship Id="rId198" Type="http://schemas.openxmlformats.org/officeDocument/2006/relationships/slideLayout" Target="../slideLayouts/slideLayout618.xml"/><Relationship Id="rId321" Type="http://schemas.openxmlformats.org/officeDocument/2006/relationships/slideLayout" Target="../slideLayouts/slideLayout741.xml"/><Relationship Id="rId363" Type="http://schemas.openxmlformats.org/officeDocument/2006/relationships/slideLayout" Target="../slideLayouts/slideLayout783.xml"/><Relationship Id="rId419" Type="http://schemas.openxmlformats.org/officeDocument/2006/relationships/slideLayout" Target="../slideLayouts/slideLayout839.xml"/><Relationship Id="rId223" Type="http://schemas.openxmlformats.org/officeDocument/2006/relationships/slideLayout" Target="../slideLayouts/slideLayout643.xml"/><Relationship Id="rId430" Type="http://schemas.openxmlformats.org/officeDocument/2006/relationships/slideLayout" Target="../slideLayouts/slideLayout850.xml"/><Relationship Id="rId18" Type="http://schemas.openxmlformats.org/officeDocument/2006/relationships/slideLayout" Target="../slideLayouts/slideLayout438.xml"/><Relationship Id="rId265" Type="http://schemas.openxmlformats.org/officeDocument/2006/relationships/slideLayout" Target="../slideLayouts/slideLayout685.xml"/><Relationship Id="rId472" Type="http://schemas.openxmlformats.org/officeDocument/2006/relationships/slideLayout" Target="../slideLayouts/slideLayout892.xml"/><Relationship Id="rId125" Type="http://schemas.openxmlformats.org/officeDocument/2006/relationships/slideLayout" Target="../slideLayouts/slideLayout545.xml"/><Relationship Id="rId167" Type="http://schemas.openxmlformats.org/officeDocument/2006/relationships/slideLayout" Target="../slideLayouts/slideLayout587.xml"/><Relationship Id="rId332" Type="http://schemas.openxmlformats.org/officeDocument/2006/relationships/slideLayout" Target="../slideLayouts/slideLayout752.xml"/><Relationship Id="rId374" Type="http://schemas.openxmlformats.org/officeDocument/2006/relationships/slideLayout" Target="../slideLayouts/slideLayout794.xml"/><Relationship Id="rId71" Type="http://schemas.openxmlformats.org/officeDocument/2006/relationships/slideLayout" Target="../slideLayouts/slideLayout491.xml"/><Relationship Id="rId234" Type="http://schemas.openxmlformats.org/officeDocument/2006/relationships/slideLayout" Target="../slideLayouts/slideLayout654.xml"/><Relationship Id="rId2" Type="http://schemas.openxmlformats.org/officeDocument/2006/relationships/slideLayout" Target="../slideLayouts/slideLayout422.xml"/><Relationship Id="rId29" Type="http://schemas.openxmlformats.org/officeDocument/2006/relationships/slideLayout" Target="../slideLayouts/slideLayout449.xml"/><Relationship Id="rId276" Type="http://schemas.openxmlformats.org/officeDocument/2006/relationships/slideLayout" Target="../slideLayouts/slideLayout696.xml"/><Relationship Id="rId441" Type="http://schemas.openxmlformats.org/officeDocument/2006/relationships/slideLayout" Target="../slideLayouts/slideLayout861.xml"/><Relationship Id="rId483" Type="http://schemas.openxmlformats.org/officeDocument/2006/relationships/slideLayout" Target="../slideLayouts/slideLayout903.xml"/><Relationship Id="rId40" Type="http://schemas.openxmlformats.org/officeDocument/2006/relationships/slideLayout" Target="../slideLayouts/slideLayout460.xml"/><Relationship Id="rId136" Type="http://schemas.openxmlformats.org/officeDocument/2006/relationships/slideLayout" Target="../slideLayouts/slideLayout556.xml"/><Relationship Id="rId178" Type="http://schemas.openxmlformats.org/officeDocument/2006/relationships/slideLayout" Target="../slideLayouts/slideLayout598.xml"/><Relationship Id="rId301" Type="http://schemas.openxmlformats.org/officeDocument/2006/relationships/slideLayout" Target="../slideLayouts/slideLayout721.xml"/><Relationship Id="rId343" Type="http://schemas.openxmlformats.org/officeDocument/2006/relationships/slideLayout" Target="../slideLayouts/slideLayout763.xml"/><Relationship Id="rId82" Type="http://schemas.openxmlformats.org/officeDocument/2006/relationships/slideLayout" Target="../slideLayouts/slideLayout502.xml"/><Relationship Id="rId203" Type="http://schemas.openxmlformats.org/officeDocument/2006/relationships/slideLayout" Target="../slideLayouts/slideLayout623.xml"/><Relationship Id="rId385" Type="http://schemas.openxmlformats.org/officeDocument/2006/relationships/slideLayout" Target="../slideLayouts/slideLayout805.xml"/><Relationship Id="rId245" Type="http://schemas.openxmlformats.org/officeDocument/2006/relationships/slideLayout" Target="../slideLayouts/slideLayout665.xml"/><Relationship Id="rId287" Type="http://schemas.openxmlformats.org/officeDocument/2006/relationships/slideLayout" Target="../slideLayouts/slideLayout707.xml"/><Relationship Id="rId410" Type="http://schemas.openxmlformats.org/officeDocument/2006/relationships/slideLayout" Target="../slideLayouts/slideLayout830.xml"/><Relationship Id="rId452" Type="http://schemas.openxmlformats.org/officeDocument/2006/relationships/slideLayout" Target="../slideLayouts/slideLayout872.xml"/><Relationship Id="rId494" Type="http://schemas.openxmlformats.org/officeDocument/2006/relationships/slideLayout" Target="../slideLayouts/slideLayout914.xml"/><Relationship Id="rId105" Type="http://schemas.openxmlformats.org/officeDocument/2006/relationships/slideLayout" Target="../slideLayouts/slideLayout525.xml"/><Relationship Id="rId147" Type="http://schemas.openxmlformats.org/officeDocument/2006/relationships/slideLayout" Target="../slideLayouts/slideLayout567.xml"/><Relationship Id="rId312" Type="http://schemas.openxmlformats.org/officeDocument/2006/relationships/slideLayout" Target="../slideLayouts/slideLayout732.xml"/><Relationship Id="rId354" Type="http://schemas.openxmlformats.org/officeDocument/2006/relationships/slideLayout" Target="../slideLayouts/slideLayout774.xml"/><Relationship Id="rId51" Type="http://schemas.openxmlformats.org/officeDocument/2006/relationships/slideLayout" Target="../slideLayouts/slideLayout471.xml"/><Relationship Id="rId93" Type="http://schemas.openxmlformats.org/officeDocument/2006/relationships/slideLayout" Target="../slideLayouts/slideLayout513.xml"/><Relationship Id="rId189" Type="http://schemas.openxmlformats.org/officeDocument/2006/relationships/slideLayout" Target="../slideLayouts/slideLayout609.xml"/><Relationship Id="rId396" Type="http://schemas.openxmlformats.org/officeDocument/2006/relationships/slideLayout" Target="../slideLayouts/slideLayout816.xml"/><Relationship Id="rId214" Type="http://schemas.openxmlformats.org/officeDocument/2006/relationships/slideLayout" Target="../slideLayouts/slideLayout634.xml"/><Relationship Id="rId256" Type="http://schemas.openxmlformats.org/officeDocument/2006/relationships/slideLayout" Target="../slideLayouts/slideLayout676.xml"/><Relationship Id="rId298" Type="http://schemas.openxmlformats.org/officeDocument/2006/relationships/slideLayout" Target="../slideLayouts/slideLayout718.xml"/><Relationship Id="rId421" Type="http://schemas.openxmlformats.org/officeDocument/2006/relationships/slideLayout" Target="../slideLayouts/slideLayout841.xml"/><Relationship Id="rId463" Type="http://schemas.openxmlformats.org/officeDocument/2006/relationships/slideLayout" Target="../slideLayouts/slideLayout883.xml"/><Relationship Id="rId116" Type="http://schemas.openxmlformats.org/officeDocument/2006/relationships/slideLayout" Target="../slideLayouts/slideLayout536.xml"/><Relationship Id="rId158" Type="http://schemas.openxmlformats.org/officeDocument/2006/relationships/slideLayout" Target="../slideLayouts/slideLayout578.xml"/><Relationship Id="rId323" Type="http://schemas.openxmlformats.org/officeDocument/2006/relationships/slideLayout" Target="../slideLayouts/slideLayout743.xml"/><Relationship Id="rId20" Type="http://schemas.openxmlformats.org/officeDocument/2006/relationships/slideLayout" Target="../slideLayouts/slideLayout440.xml"/><Relationship Id="rId62" Type="http://schemas.openxmlformats.org/officeDocument/2006/relationships/slideLayout" Target="../slideLayouts/slideLayout482.xml"/><Relationship Id="rId365" Type="http://schemas.openxmlformats.org/officeDocument/2006/relationships/slideLayout" Target="../slideLayouts/slideLayout785.xml"/><Relationship Id="rId225" Type="http://schemas.openxmlformats.org/officeDocument/2006/relationships/slideLayout" Target="../slideLayouts/slideLayout645.xml"/><Relationship Id="rId267" Type="http://schemas.openxmlformats.org/officeDocument/2006/relationships/slideLayout" Target="../slideLayouts/slideLayout687.xml"/><Relationship Id="rId432" Type="http://schemas.openxmlformats.org/officeDocument/2006/relationships/slideLayout" Target="../slideLayouts/slideLayout852.xml"/><Relationship Id="rId474" Type="http://schemas.openxmlformats.org/officeDocument/2006/relationships/slideLayout" Target="../slideLayouts/slideLayout894.xml"/><Relationship Id="rId127" Type="http://schemas.openxmlformats.org/officeDocument/2006/relationships/slideLayout" Target="../slideLayouts/slideLayout547.xml"/><Relationship Id="rId31" Type="http://schemas.openxmlformats.org/officeDocument/2006/relationships/slideLayout" Target="../slideLayouts/slideLayout451.xml"/><Relationship Id="rId73" Type="http://schemas.openxmlformats.org/officeDocument/2006/relationships/slideLayout" Target="../slideLayouts/slideLayout493.xml"/><Relationship Id="rId169" Type="http://schemas.openxmlformats.org/officeDocument/2006/relationships/slideLayout" Target="../slideLayouts/slideLayout589.xml"/><Relationship Id="rId334" Type="http://schemas.openxmlformats.org/officeDocument/2006/relationships/slideLayout" Target="../slideLayouts/slideLayout754.xml"/><Relationship Id="rId376" Type="http://schemas.openxmlformats.org/officeDocument/2006/relationships/slideLayout" Target="../slideLayouts/slideLayout796.xml"/><Relationship Id="rId4" Type="http://schemas.openxmlformats.org/officeDocument/2006/relationships/slideLayout" Target="../slideLayouts/slideLayout424.xml"/><Relationship Id="rId180" Type="http://schemas.openxmlformats.org/officeDocument/2006/relationships/slideLayout" Target="../slideLayouts/slideLayout600.xml"/><Relationship Id="rId215" Type="http://schemas.openxmlformats.org/officeDocument/2006/relationships/slideLayout" Target="../slideLayouts/slideLayout635.xml"/><Relationship Id="rId236" Type="http://schemas.openxmlformats.org/officeDocument/2006/relationships/slideLayout" Target="../slideLayouts/slideLayout656.xml"/><Relationship Id="rId257" Type="http://schemas.openxmlformats.org/officeDocument/2006/relationships/slideLayout" Target="../slideLayouts/slideLayout677.xml"/><Relationship Id="rId278" Type="http://schemas.openxmlformats.org/officeDocument/2006/relationships/slideLayout" Target="../slideLayouts/slideLayout698.xml"/><Relationship Id="rId401" Type="http://schemas.openxmlformats.org/officeDocument/2006/relationships/slideLayout" Target="../slideLayouts/slideLayout821.xml"/><Relationship Id="rId422" Type="http://schemas.openxmlformats.org/officeDocument/2006/relationships/slideLayout" Target="../slideLayouts/slideLayout842.xml"/><Relationship Id="rId443" Type="http://schemas.openxmlformats.org/officeDocument/2006/relationships/slideLayout" Target="../slideLayouts/slideLayout863.xml"/><Relationship Id="rId464" Type="http://schemas.openxmlformats.org/officeDocument/2006/relationships/slideLayout" Target="../slideLayouts/slideLayout884.xml"/><Relationship Id="rId303" Type="http://schemas.openxmlformats.org/officeDocument/2006/relationships/slideLayout" Target="../slideLayouts/slideLayout723.xml"/><Relationship Id="rId485" Type="http://schemas.openxmlformats.org/officeDocument/2006/relationships/slideLayout" Target="../slideLayouts/slideLayout905.xml"/><Relationship Id="rId42" Type="http://schemas.openxmlformats.org/officeDocument/2006/relationships/slideLayout" Target="../slideLayouts/slideLayout462.xml"/><Relationship Id="rId84" Type="http://schemas.openxmlformats.org/officeDocument/2006/relationships/slideLayout" Target="../slideLayouts/slideLayout504.xml"/><Relationship Id="rId138" Type="http://schemas.openxmlformats.org/officeDocument/2006/relationships/slideLayout" Target="../slideLayouts/slideLayout558.xml"/><Relationship Id="rId345" Type="http://schemas.openxmlformats.org/officeDocument/2006/relationships/slideLayout" Target="../slideLayouts/slideLayout765.xml"/><Relationship Id="rId387" Type="http://schemas.openxmlformats.org/officeDocument/2006/relationships/slideLayout" Target="../slideLayouts/slideLayout807.xml"/><Relationship Id="rId191" Type="http://schemas.openxmlformats.org/officeDocument/2006/relationships/slideLayout" Target="../slideLayouts/slideLayout611.xml"/><Relationship Id="rId205" Type="http://schemas.openxmlformats.org/officeDocument/2006/relationships/slideLayout" Target="../slideLayouts/slideLayout625.xml"/><Relationship Id="rId247" Type="http://schemas.openxmlformats.org/officeDocument/2006/relationships/slideLayout" Target="../slideLayouts/slideLayout667.xml"/><Relationship Id="rId412" Type="http://schemas.openxmlformats.org/officeDocument/2006/relationships/slideLayout" Target="../slideLayouts/slideLayout832.xml"/><Relationship Id="rId107" Type="http://schemas.openxmlformats.org/officeDocument/2006/relationships/slideLayout" Target="../slideLayouts/slideLayout527.xml"/><Relationship Id="rId289" Type="http://schemas.openxmlformats.org/officeDocument/2006/relationships/slideLayout" Target="../slideLayouts/slideLayout709.xml"/><Relationship Id="rId454" Type="http://schemas.openxmlformats.org/officeDocument/2006/relationships/slideLayout" Target="../slideLayouts/slideLayout874.xml"/><Relationship Id="rId496" Type="http://schemas.openxmlformats.org/officeDocument/2006/relationships/slideLayout" Target="../slideLayouts/slideLayout916.xml"/><Relationship Id="rId11" Type="http://schemas.openxmlformats.org/officeDocument/2006/relationships/slideLayout" Target="../slideLayouts/slideLayout431.xml"/><Relationship Id="rId53" Type="http://schemas.openxmlformats.org/officeDocument/2006/relationships/slideLayout" Target="../slideLayouts/slideLayout473.xml"/><Relationship Id="rId149" Type="http://schemas.openxmlformats.org/officeDocument/2006/relationships/slideLayout" Target="../slideLayouts/slideLayout569.xml"/><Relationship Id="rId314" Type="http://schemas.openxmlformats.org/officeDocument/2006/relationships/slideLayout" Target="../slideLayouts/slideLayout734.xml"/><Relationship Id="rId356" Type="http://schemas.openxmlformats.org/officeDocument/2006/relationships/slideLayout" Target="../slideLayouts/slideLayout776.xml"/><Relationship Id="rId398" Type="http://schemas.openxmlformats.org/officeDocument/2006/relationships/slideLayout" Target="../slideLayouts/slideLayout818.xml"/><Relationship Id="rId95" Type="http://schemas.openxmlformats.org/officeDocument/2006/relationships/slideLayout" Target="../slideLayouts/slideLayout515.xml"/><Relationship Id="rId160" Type="http://schemas.openxmlformats.org/officeDocument/2006/relationships/slideLayout" Target="../slideLayouts/slideLayout580.xml"/><Relationship Id="rId216" Type="http://schemas.openxmlformats.org/officeDocument/2006/relationships/slideLayout" Target="../slideLayouts/slideLayout636.xml"/><Relationship Id="rId423" Type="http://schemas.openxmlformats.org/officeDocument/2006/relationships/slideLayout" Target="../slideLayouts/slideLayout843.xml"/><Relationship Id="rId258" Type="http://schemas.openxmlformats.org/officeDocument/2006/relationships/slideLayout" Target="../slideLayouts/slideLayout678.xml"/><Relationship Id="rId465" Type="http://schemas.openxmlformats.org/officeDocument/2006/relationships/slideLayout" Target="../slideLayouts/slideLayout885.xml"/><Relationship Id="rId22" Type="http://schemas.openxmlformats.org/officeDocument/2006/relationships/slideLayout" Target="../slideLayouts/slideLayout442.xml"/><Relationship Id="rId64" Type="http://schemas.openxmlformats.org/officeDocument/2006/relationships/slideLayout" Target="../slideLayouts/slideLayout484.xml"/><Relationship Id="rId118" Type="http://schemas.openxmlformats.org/officeDocument/2006/relationships/slideLayout" Target="../slideLayouts/slideLayout538.xml"/><Relationship Id="rId325" Type="http://schemas.openxmlformats.org/officeDocument/2006/relationships/slideLayout" Target="../slideLayouts/slideLayout745.xml"/><Relationship Id="rId367" Type="http://schemas.openxmlformats.org/officeDocument/2006/relationships/slideLayout" Target="../slideLayouts/slideLayout787.xml"/><Relationship Id="rId171" Type="http://schemas.openxmlformats.org/officeDocument/2006/relationships/slideLayout" Target="../slideLayouts/slideLayout591.xml"/><Relationship Id="rId227" Type="http://schemas.openxmlformats.org/officeDocument/2006/relationships/slideLayout" Target="../slideLayouts/slideLayout647.xml"/><Relationship Id="rId269" Type="http://schemas.openxmlformats.org/officeDocument/2006/relationships/slideLayout" Target="../slideLayouts/slideLayout689.xml"/><Relationship Id="rId434" Type="http://schemas.openxmlformats.org/officeDocument/2006/relationships/slideLayout" Target="../slideLayouts/slideLayout854.xml"/><Relationship Id="rId476" Type="http://schemas.openxmlformats.org/officeDocument/2006/relationships/slideLayout" Target="../slideLayouts/slideLayout896.xml"/><Relationship Id="rId33" Type="http://schemas.openxmlformats.org/officeDocument/2006/relationships/slideLayout" Target="../slideLayouts/slideLayout453.xml"/><Relationship Id="rId129" Type="http://schemas.openxmlformats.org/officeDocument/2006/relationships/slideLayout" Target="../slideLayouts/slideLayout549.xml"/><Relationship Id="rId280" Type="http://schemas.openxmlformats.org/officeDocument/2006/relationships/slideLayout" Target="../slideLayouts/slideLayout700.xml"/><Relationship Id="rId336" Type="http://schemas.openxmlformats.org/officeDocument/2006/relationships/slideLayout" Target="../slideLayouts/slideLayout756.xml"/><Relationship Id="rId501" Type="http://schemas.openxmlformats.org/officeDocument/2006/relationships/slideLayout" Target="../slideLayouts/slideLayout921.xml"/><Relationship Id="rId75" Type="http://schemas.openxmlformats.org/officeDocument/2006/relationships/slideLayout" Target="../slideLayouts/slideLayout495.xml"/><Relationship Id="rId140" Type="http://schemas.openxmlformats.org/officeDocument/2006/relationships/slideLayout" Target="../slideLayouts/slideLayout560.xml"/><Relationship Id="rId182" Type="http://schemas.openxmlformats.org/officeDocument/2006/relationships/slideLayout" Target="../slideLayouts/slideLayout602.xml"/><Relationship Id="rId378" Type="http://schemas.openxmlformats.org/officeDocument/2006/relationships/slideLayout" Target="../slideLayouts/slideLayout798.xml"/><Relationship Id="rId403" Type="http://schemas.openxmlformats.org/officeDocument/2006/relationships/slideLayout" Target="../slideLayouts/slideLayout823.xml"/><Relationship Id="rId6" Type="http://schemas.openxmlformats.org/officeDocument/2006/relationships/slideLayout" Target="../slideLayouts/slideLayout426.xml"/><Relationship Id="rId238" Type="http://schemas.openxmlformats.org/officeDocument/2006/relationships/slideLayout" Target="../slideLayouts/slideLayout658.xml"/><Relationship Id="rId445" Type="http://schemas.openxmlformats.org/officeDocument/2006/relationships/slideLayout" Target="../slideLayouts/slideLayout865.xml"/><Relationship Id="rId487" Type="http://schemas.openxmlformats.org/officeDocument/2006/relationships/slideLayout" Target="../slideLayouts/slideLayout907.xml"/><Relationship Id="rId291" Type="http://schemas.openxmlformats.org/officeDocument/2006/relationships/slideLayout" Target="../slideLayouts/slideLayout711.xml"/><Relationship Id="rId305" Type="http://schemas.openxmlformats.org/officeDocument/2006/relationships/slideLayout" Target="../slideLayouts/slideLayout725.xml"/><Relationship Id="rId347" Type="http://schemas.openxmlformats.org/officeDocument/2006/relationships/slideLayout" Target="../slideLayouts/slideLayout767.xml"/><Relationship Id="rId44" Type="http://schemas.openxmlformats.org/officeDocument/2006/relationships/slideLayout" Target="../slideLayouts/slideLayout464.xml"/><Relationship Id="rId86" Type="http://schemas.openxmlformats.org/officeDocument/2006/relationships/slideLayout" Target="../slideLayouts/slideLayout506.xml"/><Relationship Id="rId151" Type="http://schemas.openxmlformats.org/officeDocument/2006/relationships/slideLayout" Target="../slideLayouts/slideLayout571.xml"/><Relationship Id="rId389" Type="http://schemas.openxmlformats.org/officeDocument/2006/relationships/slideLayout" Target="../slideLayouts/slideLayout809.xml"/><Relationship Id="rId193" Type="http://schemas.openxmlformats.org/officeDocument/2006/relationships/slideLayout" Target="../slideLayouts/slideLayout613.xml"/><Relationship Id="rId207" Type="http://schemas.openxmlformats.org/officeDocument/2006/relationships/slideLayout" Target="../slideLayouts/slideLayout627.xml"/><Relationship Id="rId249" Type="http://schemas.openxmlformats.org/officeDocument/2006/relationships/slideLayout" Target="../slideLayouts/slideLayout669.xml"/><Relationship Id="rId414" Type="http://schemas.openxmlformats.org/officeDocument/2006/relationships/slideLayout" Target="../slideLayouts/slideLayout834.xml"/><Relationship Id="rId456" Type="http://schemas.openxmlformats.org/officeDocument/2006/relationships/slideLayout" Target="../slideLayouts/slideLayout876.xml"/><Relationship Id="rId498" Type="http://schemas.openxmlformats.org/officeDocument/2006/relationships/slideLayout" Target="../slideLayouts/slideLayout918.xml"/><Relationship Id="rId13" Type="http://schemas.openxmlformats.org/officeDocument/2006/relationships/slideLayout" Target="../slideLayouts/slideLayout433.xml"/><Relationship Id="rId109" Type="http://schemas.openxmlformats.org/officeDocument/2006/relationships/slideLayout" Target="../slideLayouts/slideLayout529.xml"/><Relationship Id="rId260" Type="http://schemas.openxmlformats.org/officeDocument/2006/relationships/slideLayout" Target="../slideLayouts/slideLayout680.xml"/><Relationship Id="rId316" Type="http://schemas.openxmlformats.org/officeDocument/2006/relationships/slideLayout" Target="../slideLayouts/slideLayout736.xml"/><Relationship Id="rId55" Type="http://schemas.openxmlformats.org/officeDocument/2006/relationships/slideLayout" Target="../slideLayouts/slideLayout475.xml"/><Relationship Id="rId97" Type="http://schemas.openxmlformats.org/officeDocument/2006/relationships/slideLayout" Target="../slideLayouts/slideLayout517.xml"/><Relationship Id="rId120" Type="http://schemas.openxmlformats.org/officeDocument/2006/relationships/slideLayout" Target="../slideLayouts/slideLayout540.xml"/><Relationship Id="rId358" Type="http://schemas.openxmlformats.org/officeDocument/2006/relationships/slideLayout" Target="../slideLayouts/slideLayout778.xml"/><Relationship Id="rId162" Type="http://schemas.openxmlformats.org/officeDocument/2006/relationships/slideLayout" Target="../slideLayouts/slideLayout582.xml"/><Relationship Id="rId218" Type="http://schemas.openxmlformats.org/officeDocument/2006/relationships/slideLayout" Target="../slideLayouts/slideLayout638.xml"/><Relationship Id="rId425" Type="http://schemas.openxmlformats.org/officeDocument/2006/relationships/slideLayout" Target="../slideLayouts/slideLayout845.xml"/><Relationship Id="rId467" Type="http://schemas.openxmlformats.org/officeDocument/2006/relationships/slideLayout" Target="../slideLayouts/slideLayout887.xml"/><Relationship Id="rId271" Type="http://schemas.openxmlformats.org/officeDocument/2006/relationships/slideLayout" Target="../slideLayouts/slideLayout691.xml"/><Relationship Id="rId24" Type="http://schemas.openxmlformats.org/officeDocument/2006/relationships/slideLayout" Target="../slideLayouts/slideLayout444.xml"/><Relationship Id="rId66" Type="http://schemas.openxmlformats.org/officeDocument/2006/relationships/slideLayout" Target="../slideLayouts/slideLayout486.xml"/><Relationship Id="rId131" Type="http://schemas.openxmlformats.org/officeDocument/2006/relationships/slideLayout" Target="../slideLayouts/slideLayout551.xml"/><Relationship Id="rId327" Type="http://schemas.openxmlformats.org/officeDocument/2006/relationships/slideLayout" Target="../slideLayouts/slideLayout747.xml"/><Relationship Id="rId369" Type="http://schemas.openxmlformats.org/officeDocument/2006/relationships/slideLayout" Target="../slideLayouts/slideLayout789.xml"/><Relationship Id="rId173" Type="http://schemas.openxmlformats.org/officeDocument/2006/relationships/slideLayout" Target="../slideLayouts/slideLayout593.xml"/><Relationship Id="rId229" Type="http://schemas.openxmlformats.org/officeDocument/2006/relationships/slideLayout" Target="../slideLayouts/slideLayout649.xml"/><Relationship Id="rId380" Type="http://schemas.openxmlformats.org/officeDocument/2006/relationships/slideLayout" Target="../slideLayouts/slideLayout800.xml"/><Relationship Id="rId436" Type="http://schemas.openxmlformats.org/officeDocument/2006/relationships/slideLayout" Target="../slideLayouts/slideLayout856.xml"/><Relationship Id="rId240" Type="http://schemas.openxmlformats.org/officeDocument/2006/relationships/slideLayout" Target="../slideLayouts/slideLayout660.xml"/><Relationship Id="rId478" Type="http://schemas.openxmlformats.org/officeDocument/2006/relationships/slideLayout" Target="../slideLayouts/slideLayout898.xml"/><Relationship Id="rId35" Type="http://schemas.openxmlformats.org/officeDocument/2006/relationships/slideLayout" Target="../slideLayouts/slideLayout455.xml"/><Relationship Id="rId77" Type="http://schemas.openxmlformats.org/officeDocument/2006/relationships/slideLayout" Target="../slideLayouts/slideLayout497.xml"/><Relationship Id="rId100" Type="http://schemas.openxmlformats.org/officeDocument/2006/relationships/slideLayout" Target="../slideLayouts/slideLayout520.xml"/><Relationship Id="rId282" Type="http://schemas.openxmlformats.org/officeDocument/2006/relationships/slideLayout" Target="../slideLayouts/slideLayout702.xml"/><Relationship Id="rId338" Type="http://schemas.openxmlformats.org/officeDocument/2006/relationships/slideLayout" Target="../slideLayouts/slideLayout758.xml"/><Relationship Id="rId503" Type="http://schemas.openxmlformats.org/officeDocument/2006/relationships/slideLayout" Target="../slideLayouts/slideLayout923.xml"/><Relationship Id="rId8" Type="http://schemas.openxmlformats.org/officeDocument/2006/relationships/slideLayout" Target="../slideLayouts/slideLayout428.xml"/><Relationship Id="rId142" Type="http://schemas.openxmlformats.org/officeDocument/2006/relationships/slideLayout" Target="../slideLayouts/slideLayout562.xml"/><Relationship Id="rId184" Type="http://schemas.openxmlformats.org/officeDocument/2006/relationships/slideLayout" Target="../slideLayouts/slideLayout604.xml"/><Relationship Id="rId391" Type="http://schemas.openxmlformats.org/officeDocument/2006/relationships/slideLayout" Target="../slideLayouts/slideLayout811.xml"/><Relationship Id="rId405" Type="http://schemas.openxmlformats.org/officeDocument/2006/relationships/slideLayout" Target="../slideLayouts/slideLayout825.xml"/><Relationship Id="rId447" Type="http://schemas.openxmlformats.org/officeDocument/2006/relationships/slideLayout" Target="../slideLayouts/slideLayout867.xml"/><Relationship Id="rId251" Type="http://schemas.openxmlformats.org/officeDocument/2006/relationships/slideLayout" Target="../slideLayouts/slideLayout671.xml"/><Relationship Id="rId489" Type="http://schemas.openxmlformats.org/officeDocument/2006/relationships/slideLayout" Target="../slideLayouts/slideLayout909.xml"/><Relationship Id="rId46" Type="http://schemas.openxmlformats.org/officeDocument/2006/relationships/slideLayout" Target="../slideLayouts/slideLayout466.xml"/><Relationship Id="rId293" Type="http://schemas.openxmlformats.org/officeDocument/2006/relationships/slideLayout" Target="../slideLayouts/slideLayout713.xml"/><Relationship Id="rId307" Type="http://schemas.openxmlformats.org/officeDocument/2006/relationships/slideLayout" Target="../slideLayouts/slideLayout727.xml"/><Relationship Id="rId349" Type="http://schemas.openxmlformats.org/officeDocument/2006/relationships/slideLayout" Target="../slideLayouts/slideLayout769.xml"/><Relationship Id="rId88" Type="http://schemas.openxmlformats.org/officeDocument/2006/relationships/slideLayout" Target="../slideLayouts/slideLayout508.xml"/><Relationship Id="rId111" Type="http://schemas.openxmlformats.org/officeDocument/2006/relationships/slideLayout" Target="../slideLayouts/slideLayout531.xml"/><Relationship Id="rId153" Type="http://schemas.openxmlformats.org/officeDocument/2006/relationships/slideLayout" Target="../slideLayouts/slideLayout573.xml"/><Relationship Id="rId195" Type="http://schemas.openxmlformats.org/officeDocument/2006/relationships/slideLayout" Target="../slideLayouts/slideLayout615.xml"/><Relationship Id="rId209" Type="http://schemas.openxmlformats.org/officeDocument/2006/relationships/slideLayout" Target="../slideLayouts/slideLayout629.xml"/><Relationship Id="rId360" Type="http://schemas.openxmlformats.org/officeDocument/2006/relationships/slideLayout" Target="../slideLayouts/slideLayout780.xml"/><Relationship Id="rId416" Type="http://schemas.openxmlformats.org/officeDocument/2006/relationships/slideLayout" Target="../slideLayouts/slideLayout836.xml"/><Relationship Id="rId220" Type="http://schemas.openxmlformats.org/officeDocument/2006/relationships/slideLayout" Target="../slideLayouts/slideLayout640.xml"/><Relationship Id="rId458" Type="http://schemas.openxmlformats.org/officeDocument/2006/relationships/slideLayout" Target="../slideLayouts/slideLayout878.xml"/><Relationship Id="rId15" Type="http://schemas.openxmlformats.org/officeDocument/2006/relationships/slideLayout" Target="../slideLayouts/slideLayout435.xml"/><Relationship Id="rId57" Type="http://schemas.openxmlformats.org/officeDocument/2006/relationships/slideLayout" Target="../slideLayouts/slideLayout477.xml"/><Relationship Id="rId262" Type="http://schemas.openxmlformats.org/officeDocument/2006/relationships/slideLayout" Target="../slideLayouts/slideLayout682.xml"/><Relationship Id="rId318" Type="http://schemas.openxmlformats.org/officeDocument/2006/relationships/slideLayout" Target="../slideLayouts/slideLayout738.xml"/><Relationship Id="rId99" Type="http://schemas.openxmlformats.org/officeDocument/2006/relationships/slideLayout" Target="../slideLayouts/slideLayout519.xml"/><Relationship Id="rId122" Type="http://schemas.openxmlformats.org/officeDocument/2006/relationships/slideLayout" Target="../slideLayouts/slideLayout542.xml"/><Relationship Id="rId164" Type="http://schemas.openxmlformats.org/officeDocument/2006/relationships/slideLayout" Target="../slideLayouts/slideLayout584.xml"/><Relationship Id="rId371" Type="http://schemas.openxmlformats.org/officeDocument/2006/relationships/slideLayout" Target="../slideLayouts/slideLayout791.xml"/><Relationship Id="rId427" Type="http://schemas.openxmlformats.org/officeDocument/2006/relationships/slideLayout" Target="../slideLayouts/slideLayout847.xml"/><Relationship Id="rId469" Type="http://schemas.openxmlformats.org/officeDocument/2006/relationships/slideLayout" Target="../slideLayouts/slideLayout889.xml"/><Relationship Id="rId26" Type="http://schemas.openxmlformats.org/officeDocument/2006/relationships/slideLayout" Target="../slideLayouts/slideLayout446.xml"/><Relationship Id="rId231" Type="http://schemas.openxmlformats.org/officeDocument/2006/relationships/slideLayout" Target="../slideLayouts/slideLayout651.xml"/><Relationship Id="rId273" Type="http://schemas.openxmlformats.org/officeDocument/2006/relationships/slideLayout" Target="../slideLayouts/slideLayout693.xml"/><Relationship Id="rId329" Type="http://schemas.openxmlformats.org/officeDocument/2006/relationships/slideLayout" Target="../slideLayouts/slideLayout749.xml"/><Relationship Id="rId480" Type="http://schemas.openxmlformats.org/officeDocument/2006/relationships/slideLayout" Target="../slideLayouts/slideLayout900.xml"/><Relationship Id="rId68" Type="http://schemas.openxmlformats.org/officeDocument/2006/relationships/slideLayout" Target="../slideLayouts/slideLayout488.xml"/><Relationship Id="rId133" Type="http://schemas.openxmlformats.org/officeDocument/2006/relationships/slideLayout" Target="../slideLayouts/slideLayout553.xml"/><Relationship Id="rId175" Type="http://schemas.openxmlformats.org/officeDocument/2006/relationships/slideLayout" Target="../slideLayouts/slideLayout595.xml"/><Relationship Id="rId340" Type="http://schemas.openxmlformats.org/officeDocument/2006/relationships/slideLayout" Target="../slideLayouts/slideLayout760.xml"/><Relationship Id="rId200" Type="http://schemas.openxmlformats.org/officeDocument/2006/relationships/slideLayout" Target="../slideLayouts/slideLayout620.xml"/><Relationship Id="rId382" Type="http://schemas.openxmlformats.org/officeDocument/2006/relationships/slideLayout" Target="../slideLayouts/slideLayout802.xml"/><Relationship Id="rId438" Type="http://schemas.openxmlformats.org/officeDocument/2006/relationships/slideLayout" Target="../slideLayouts/slideLayout858.xml"/><Relationship Id="rId242" Type="http://schemas.openxmlformats.org/officeDocument/2006/relationships/slideLayout" Target="../slideLayouts/slideLayout662.xml"/><Relationship Id="rId284" Type="http://schemas.openxmlformats.org/officeDocument/2006/relationships/slideLayout" Target="../slideLayouts/slideLayout704.xml"/><Relationship Id="rId491" Type="http://schemas.openxmlformats.org/officeDocument/2006/relationships/slideLayout" Target="../slideLayouts/slideLayout911.xml"/><Relationship Id="rId505" Type="http://schemas.openxmlformats.org/officeDocument/2006/relationships/slideLayout" Target="../slideLayouts/slideLayout925.xml"/><Relationship Id="rId37" Type="http://schemas.openxmlformats.org/officeDocument/2006/relationships/slideLayout" Target="../slideLayouts/slideLayout457.xml"/><Relationship Id="rId79" Type="http://schemas.openxmlformats.org/officeDocument/2006/relationships/slideLayout" Target="../slideLayouts/slideLayout499.xml"/><Relationship Id="rId102" Type="http://schemas.openxmlformats.org/officeDocument/2006/relationships/slideLayout" Target="../slideLayouts/slideLayout522.xml"/><Relationship Id="rId144" Type="http://schemas.openxmlformats.org/officeDocument/2006/relationships/slideLayout" Target="../slideLayouts/slideLayout564.xml"/><Relationship Id="rId90" Type="http://schemas.openxmlformats.org/officeDocument/2006/relationships/slideLayout" Target="../slideLayouts/slideLayout510.xml"/><Relationship Id="rId186" Type="http://schemas.openxmlformats.org/officeDocument/2006/relationships/slideLayout" Target="../slideLayouts/slideLayout606.xml"/><Relationship Id="rId351" Type="http://schemas.openxmlformats.org/officeDocument/2006/relationships/slideLayout" Target="../slideLayouts/slideLayout771.xml"/><Relationship Id="rId393" Type="http://schemas.openxmlformats.org/officeDocument/2006/relationships/slideLayout" Target="../slideLayouts/slideLayout813.xml"/><Relationship Id="rId407" Type="http://schemas.openxmlformats.org/officeDocument/2006/relationships/slideLayout" Target="../slideLayouts/slideLayout827.xml"/><Relationship Id="rId449" Type="http://schemas.openxmlformats.org/officeDocument/2006/relationships/slideLayout" Target="../slideLayouts/slideLayout869.xml"/><Relationship Id="rId211" Type="http://schemas.openxmlformats.org/officeDocument/2006/relationships/slideLayout" Target="../slideLayouts/slideLayout631.xml"/><Relationship Id="rId253" Type="http://schemas.openxmlformats.org/officeDocument/2006/relationships/slideLayout" Target="../slideLayouts/slideLayout673.xml"/><Relationship Id="rId295" Type="http://schemas.openxmlformats.org/officeDocument/2006/relationships/slideLayout" Target="../slideLayouts/slideLayout715.xml"/><Relationship Id="rId309" Type="http://schemas.openxmlformats.org/officeDocument/2006/relationships/slideLayout" Target="../slideLayouts/slideLayout729.xml"/><Relationship Id="rId460" Type="http://schemas.openxmlformats.org/officeDocument/2006/relationships/slideLayout" Target="../slideLayouts/slideLayout880.xml"/><Relationship Id="rId48" Type="http://schemas.openxmlformats.org/officeDocument/2006/relationships/slideLayout" Target="../slideLayouts/slideLayout468.xml"/><Relationship Id="rId113" Type="http://schemas.openxmlformats.org/officeDocument/2006/relationships/slideLayout" Target="../slideLayouts/slideLayout533.xml"/><Relationship Id="rId320" Type="http://schemas.openxmlformats.org/officeDocument/2006/relationships/slideLayout" Target="../slideLayouts/slideLayout740.xml"/><Relationship Id="rId155" Type="http://schemas.openxmlformats.org/officeDocument/2006/relationships/slideLayout" Target="../slideLayouts/slideLayout575.xml"/><Relationship Id="rId197" Type="http://schemas.openxmlformats.org/officeDocument/2006/relationships/slideLayout" Target="../slideLayouts/slideLayout617.xml"/><Relationship Id="rId362" Type="http://schemas.openxmlformats.org/officeDocument/2006/relationships/slideLayout" Target="../slideLayouts/slideLayout782.xml"/><Relationship Id="rId418" Type="http://schemas.openxmlformats.org/officeDocument/2006/relationships/slideLayout" Target="../slideLayouts/slideLayout838.xml"/><Relationship Id="rId222" Type="http://schemas.openxmlformats.org/officeDocument/2006/relationships/slideLayout" Target="../slideLayouts/slideLayout642.xml"/><Relationship Id="rId264" Type="http://schemas.openxmlformats.org/officeDocument/2006/relationships/slideLayout" Target="../slideLayouts/slideLayout684.xml"/><Relationship Id="rId471" Type="http://schemas.openxmlformats.org/officeDocument/2006/relationships/slideLayout" Target="../slideLayouts/slideLayout891.xml"/><Relationship Id="rId17" Type="http://schemas.openxmlformats.org/officeDocument/2006/relationships/slideLayout" Target="../slideLayouts/slideLayout437.xml"/><Relationship Id="rId59" Type="http://schemas.openxmlformats.org/officeDocument/2006/relationships/slideLayout" Target="../slideLayouts/slideLayout479.xml"/><Relationship Id="rId124" Type="http://schemas.openxmlformats.org/officeDocument/2006/relationships/slideLayout" Target="../slideLayouts/slideLayout544.xml"/><Relationship Id="rId70" Type="http://schemas.openxmlformats.org/officeDocument/2006/relationships/slideLayout" Target="../slideLayouts/slideLayout490.xml"/><Relationship Id="rId166" Type="http://schemas.openxmlformats.org/officeDocument/2006/relationships/slideLayout" Target="../slideLayouts/slideLayout586.xml"/><Relationship Id="rId331" Type="http://schemas.openxmlformats.org/officeDocument/2006/relationships/slideLayout" Target="../slideLayouts/slideLayout751.xml"/><Relationship Id="rId373" Type="http://schemas.openxmlformats.org/officeDocument/2006/relationships/slideLayout" Target="../slideLayouts/slideLayout793.xml"/><Relationship Id="rId429" Type="http://schemas.openxmlformats.org/officeDocument/2006/relationships/slideLayout" Target="../slideLayouts/slideLayout849.xml"/><Relationship Id="rId1" Type="http://schemas.openxmlformats.org/officeDocument/2006/relationships/slideLayout" Target="../slideLayouts/slideLayout421.xml"/><Relationship Id="rId233" Type="http://schemas.openxmlformats.org/officeDocument/2006/relationships/slideLayout" Target="../slideLayouts/slideLayout653.xml"/><Relationship Id="rId440" Type="http://schemas.openxmlformats.org/officeDocument/2006/relationships/slideLayout" Target="../slideLayouts/slideLayout860.xml"/><Relationship Id="rId28" Type="http://schemas.openxmlformats.org/officeDocument/2006/relationships/slideLayout" Target="../slideLayouts/slideLayout448.xml"/><Relationship Id="rId275" Type="http://schemas.openxmlformats.org/officeDocument/2006/relationships/slideLayout" Target="../slideLayouts/slideLayout695.xml"/><Relationship Id="rId300" Type="http://schemas.openxmlformats.org/officeDocument/2006/relationships/slideLayout" Target="../slideLayouts/slideLayout720.xml"/><Relationship Id="rId482" Type="http://schemas.openxmlformats.org/officeDocument/2006/relationships/slideLayout" Target="../slideLayouts/slideLayout902.xml"/><Relationship Id="rId81" Type="http://schemas.openxmlformats.org/officeDocument/2006/relationships/slideLayout" Target="../slideLayouts/slideLayout501.xml"/><Relationship Id="rId135" Type="http://schemas.openxmlformats.org/officeDocument/2006/relationships/slideLayout" Target="../slideLayouts/slideLayout555.xml"/><Relationship Id="rId177" Type="http://schemas.openxmlformats.org/officeDocument/2006/relationships/slideLayout" Target="../slideLayouts/slideLayout597.xml"/><Relationship Id="rId342" Type="http://schemas.openxmlformats.org/officeDocument/2006/relationships/slideLayout" Target="../slideLayouts/slideLayout762.xml"/><Relationship Id="rId384" Type="http://schemas.openxmlformats.org/officeDocument/2006/relationships/slideLayout" Target="../slideLayouts/slideLayout804.xml"/><Relationship Id="rId202" Type="http://schemas.openxmlformats.org/officeDocument/2006/relationships/slideLayout" Target="../slideLayouts/slideLayout622.xml"/><Relationship Id="rId244" Type="http://schemas.openxmlformats.org/officeDocument/2006/relationships/slideLayout" Target="../slideLayouts/slideLayout664.xml"/><Relationship Id="rId39" Type="http://schemas.openxmlformats.org/officeDocument/2006/relationships/slideLayout" Target="../slideLayouts/slideLayout459.xml"/><Relationship Id="rId286" Type="http://schemas.openxmlformats.org/officeDocument/2006/relationships/slideLayout" Target="../slideLayouts/slideLayout706.xml"/><Relationship Id="rId451" Type="http://schemas.openxmlformats.org/officeDocument/2006/relationships/slideLayout" Target="../slideLayouts/slideLayout871.xml"/><Relationship Id="rId493" Type="http://schemas.openxmlformats.org/officeDocument/2006/relationships/slideLayout" Target="../slideLayouts/slideLayout913.xml"/><Relationship Id="rId507" Type="http://schemas.openxmlformats.org/officeDocument/2006/relationships/theme" Target="../theme/theme3.xml"/><Relationship Id="rId50" Type="http://schemas.openxmlformats.org/officeDocument/2006/relationships/slideLayout" Target="../slideLayouts/slideLayout470.xml"/><Relationship Id="rId104" Type="http://schemas.openxmlformats.org/officeDocument/2006/relationships/slideLayout" Target="../slideLayouts/slideLayout524.xml"/><Relationship Id="rId146" Type="http://schemas.openxmlformats.org/officeDocument/2006/relationships/slideLayout" Target="../slideLayouts/slideLayout566.xml"/><Relationship Id="rId188" Type="http://schemas.openxmlformats.org/officeDocument/2006/relationships/slideLayout" Target="../slideLayouts/slideLayout608.xml"/><Relationship Id="rId311" Type="http://schemas.openxmlformats.org/officeDocument/2006/relationships/slideLayout" Target="../slideLayouts/slideLayout731.xml"/><Relationship Id="rId353" Type="http://schemas.openxmlformats.org/officeDocument/2006/relationships/slideLayout" Target="../slideLayouts/slideLayout773.xml"/><Relationship Id="rId395" Type="http://schemas.openxmlformats.org/officeDocument/2006/relationships/slideLayout" Target="../slideLayouts/slideLayout815.xml"/><Relationship Id="rId409" Type="http://schemas.openxmlformats.org/officeDocument/2006/relationships/slideLayout" Target="../slideLayouts/slideLayout829.xml"/><Relationship Id="rId92" Type="http://schemas.openxmlformats.org/officeDocument/2006/relationships/slideLayout" Target="../slideLayouts/slideLayout512.xml"/><Relationship Id="rId213" Type="http://schemas.openxmlformats.org/officeDocument/2006/relationships/slideLayout" Target="../slideLayouts/slideLayout633.xml"/><Relationship Id="rId420" Type="http://schemas.openxmlformats.org/officeDocument/2006/relationships/slideLayout" Target="../slideLayouts/slideLayout840.xml"/><Relationship Id="rId255" Type="http://schemas.openxmlformats.org/officeDocument/2006/relationships/slideLayout" Target="../slideLayouts/slideLayout675.xml"/><Relationship Id="rId297" Type="http://schemas.openxmlformats.org/officeDocument/2006/relationships/slideLayout" Target="../slideLayouts/slideLayout717.xml"/><Relationship Id="rId462" Type="http://schemas.openxmlformats.org/officeDocument/2006/relationships/slideLayout" Target="../slideLayouts/slideLayout882.xml"/><Relationship Id="rId115" Type="http://schemas.openxmlformats.org/officeDocument/2006/relationships/slideLayout" Target="../slideLayouts/slideLayout535.xml"/><Relationship Id="rId157" Type="http://schemas.openxmlformats.org/officeDocument/2006/relationships/slideLayout" Target="../slideLayouts/slideLayout577.xml"/><Relationship Id="rId322" Type="http://schemas.openxmlformats.org/officeDocument/2006/relationships/slideLayout" Target="../slideLayouts/slideLayout742.xml"/><Relationship Id="rId364" Type="http://schemas.openxmlformats.org/officeDocument/2006/relationships/slideLayout" Target="../slideLayouts/slideLayout784.xml"/><Relationship Id="rId61" Type="http://schemas.openxmlformats.org/officeDocument/2006/relationships/slideLayout" Target="../slideLayouts/slideLayout481.xml"/><Relationship Id="rId199" Type="http://schemas.openxmlformats.org/officeDocument/2006/relationships/slideLayout" Target="../slideLayouts/slideLayout619.xml"/><Relationship Id="rId19" Type="http://schemas.openxmlformats.org/officeDocument/2006/relationships/slideLayout" Target="../slideLayouts/slideLayout439.xml"/><Relationship Id="rId224" Type="http://schemas.openxmlformats.org/officeDocument/2006/relationships/slideLayout" Target="../slideLayouts/slideLayout644.xml"/><Relationship Id="rId266" Type="http://schemas.openxmlformats.org/officeDocument/2006/relationships/slideLayout" Target="../slideLayouts/slideLayout686.xml"/><Relationship Id="rId431" Type="http://schemas.openxmlformats.org/officeDocument/2006/relationships/slideLayout" Target="../slideLayouts/slideLayout851.xml"/><Relationship Id="rId473" Type="http://schemas.openxmlformats.org/officeDocument/2006/relationships/slideLayout" Target="../slideLayouts/slideLayout893.xml"/><Relationship Id="rId30" Type="http://schemas.openxmlformats.org/officeDocument/2006/relationships/slideLayout" Target="../slideLayouts/slideLayout450.xml"/><Relationship Id="rId126" Type="http://schemas.openxmlformats.org/officeDocument/2006/relationships/slideLayout" Target="../slideLayouts/slideLayout546.xml"/><Relationship Id="rId168" Type="http://schemas.openxmlformats.org/officeDocument/2006/relationships/slideLayout" Target="../slideLayouts/slideLayout588.xml"/><Relationship Id="rId333" Type="http://schemas.openxmlformats.org/officeDocument/2006/relationships/slideLayout" Target="../slideLayouts/slideLayout753.xml"/><Relationship Id="rId72" Type="http://schemas.openxmlformats.org/officeDocument/2006/relationships/slideLayout" Target="../slideLayouts/slideLayout492.xml"/><Relationship Id="rId375" Type="http://schemas.openxmlformats.org/officeDocument/2006/relationships/slideLayout" Target="../slideLayouts/slideLayout795.xml"/><Relationship Id="rId3" Type="http://schemas.openxmlformats.org/officeDocument/2006/relationships/slideLayout" Target="../slideLayouts/slideLayout423.xml"/><Relationship Id="rId235" Type="http://schemas.openxmlformats.org/officeDocument/2006/relationships/slideLayout" Target="../slideLayouts/slideLayout655.xml"/><Relationship Id="rId277" Type="http://schemas.openxmlformats.org/officeDocument/2006/relationships/slideLayout" Target="../slideLayouts/slideLayout697.xml"/><Relationship Id="rId400" Type="http://schemas.openxmlformats.org/officeDocument/2006/relationships/slideLayout" Target="../slideLayouts/slideLayout820.xml"/><Relationship Id="rId442" Type="http://schemas.openxmlformats.org/officeDocument/2006/relationships/slideLayout" Target="../slideLayouts/slideLayout862.xml"/><Relationship Id="rId484" Type="http://schemas.openxmlformats.org/officeDocument/2006/relationships/slideLayout" Target="../slideLayouts/slideLayout904.xml"/><Relationship Id="rId137" Type="http://schemas.openxmlformats.org/officeDocument/2006/relationships/slideLayout" Target="../slideLayouts/slideLayout557.xml"/><Relationship Id="rId302" Type="http://schemas.openxmlformats.org/officeDocument/2006/relationships/slideLayout" Target="../slideLayouts/slideLayout722.xml"/><Relationship Id="rId344" Type="http://schemas.openxmlformats.org/officeDocument/2006/relationships/slideLayout" Target="../slideLayouts/slideLayout764.xml"/><Relationship Id="rId41" Type="http://schemas.openxmlformats.org/officeDocument/2006/relationships/slideLayout" Target="../slideLayouts/slideLayout461.xml"/><Relationship Id="rId83" Type="http://schemas.openxmlformats.org/officeDocument/2006/relationships/slideLayout" Target="../slideLayouts/slideLayout503.xml"/><Relationship Id="rId179" Type="http://schemas.openxmlformats.org/officeDocument/2006/relationships/slideLayout" Target="../slideLayouts/slideLayout599.xml"/><Relationship Id="rId386" Type="http://schemas.openxmlformats.org/officeDocument/2006/relationships/slideLayout" Target="../slideLayouts/slideLayout806.xml"/><Relationship Id="rId190" Type="http://schemas.openxmlformats.org/officeDocument/2006/relationships/slideLayout" Target="../slideLayouts/slideLayout610.xml"/><Relationship Id="rId204" Type="http://schemas.openxmlformats.org/officeDocument/2006/relationships/slideLayout" Target="../slideLayouts/slideLayout624.xml"/><Relationship Id="rId246" Type="http://schemas.openxmlformats.org/officeDocument/2006/relationships/slideLayout" Target="../slideLayouts/slideLayout666.xml"/><Relationship Id="rId288" Type="http://schemas.openxmlformats.org/officeDocument/2006/relationships/slideLayout" Target="../slideLayouts/slideLayout708.xml"/><Relationship Id="rId411" Type="http://schemas.openxmlformats.org/officeDocument/2006/relationships/slideLayout" Target="../slideLayouts/slideLayout831.xml"/><Relationship Id="rId453" Type="http://schemas.openxmlformats.org/officeDocument/2006/relationships/slideLayout" Target="../slideLayouts/slideLayout873.xml"/><Relationship Id="rId106" Type="http://schemas.openxmlformats.org/officeDocument/2006/relationships/slideLayout" Target="../slideLayouts/slideLayout526.xml"/><Relationship Id="rId313" Type="http://schemas.openxmlformats.org/officeDocument/2006/relationships/slideLayout" Target="../slideLayouts/slideLayout733.xml"/><Relationship Id="rId495" Type="http://schemas.openxmlformats.org/officeDocument/2006/relationships/slideLayout" Target="../slideLayouts/slideLayout915.xml"/><Relationship Id="rId10" Type="http://schemas.openxmlformats.org/officeDocument/2006/relationships/slideLayout" Target="../slideLayouts/slideLayout430.xml"/><Relationship Id="rId52" Type="http://schemas.openxmlformats.org/officeDocument/2006/relationships/slideLayout" Target="../slideLayouts/slideLayout472.xml"/><Relationship Id="rId94" Type="http://schemas.openxmlformats.org/officeDocument/2006/relationships/slideLayout" Target="../slideLayouts/slideLayout514.xml"/><Relationship Id="rId148" Type="http://schemas.openxmlformats.org/officeDocument/2006/relationships/slideLayout" Target="../slideLayouts/slideLayout568.xml"/><Relationship Id="rId355" Type="http://schemas.openxmlformats.org/officeDocument/2006/relationships/slideLayout" Target="../slideLayouts/slideLayout775.xml"/><Relationship Id="rId397" Type="http://schemas.openxmlformats.org/officeDocument/2006/relationships/slideLayout" Target="../slideLayouts/slideLayout817.xml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043.xml"/><Relationship Id="rId21" Type="http://schemas.openxmlformats.org/officeDocument/2006/relationships/slideLayout" Target="../slideLayouts/slideLayout947.xml"/><Relationship Id="rId42" Type="http://schemas.openxmlformats.org/officeDocument/2006/relationships/slideLayout" Target="../slideLayouts/slideLayout968.xml"/><Relationship Id="rId63" Type="http://schemas.openxmlformats.org/officeDocument/2006/relationships/slideLayout" Target="../slideLayouts/slideLayout989.xml"/><Relationship Id="rId84" Type="http://schemas.openxmlformats.org/officeDocument/2006/relationships/slideLayout" Target="../slideLayouts/slideLayout1010.xml"/><Relationship Id="rId138" Type="http://schemas.openxmlformats.org/officeDocument/2006/relationships/slideLayout" Target="../slideLayouts/slideLayout1064.xml"/><Relationship Id="rId159" Type="http://schemas.openxmlformats.org/officeDocument/2006/relationships/slideLayout" Target="../slideLayouts/slideLayout1085.xml"/><Relationship Id="rId170" Type="http://schemas.openxmlformats.org/officeDocument/2006/relationships/slideLayout" Target="../slideLayouts/slideLayout1096.xml"/><Relationship Id="rId191" Type="http://schemas.openxmlformats.org/officeDocument/2006/relationships/slideLayout" Target="../slideLayouts/slideLayout1117.xml"/><Relationship Id="rId205" Type="http://schemas.openxmlformats.org/officeDocument/2006/relationships/slideLayout" Target="../slideLayouts/slideLayout1131.xml"/><Relationship Id="rId226" Type="http://schemas.openxmlformats.org/officeDocument/2006/relationships/slideLayout" Target="../slideLayouts/slideLayout1152.xml"/><Relationship Id="rId107" Type="http://schemas.openxmlformats.org/officeDocument/2006/relationships/slideLayout" Target="../slideLayouts/slideLayout1033.xml"/><Relationship Id="rId11" Type="http://schemas.openxmlformats.org/officeDocument/2006/relationships/slideLayout" Target="../slideLayouts/slideLayout937.xml"/><Relationship Id="rId32" Type="http://schemas.openxmlformats.org/officeDocument/2006/relationships/slideLayout" Target="../slideLayouts/slideLayout958.xml"/><Relationship Id="rId53" Type="http://schemas.openxmlformats.org/officeDocument/2006/relationships/slideLayout" Target="../slideLayouts/slideLayout979.xml"/><Relationship Id="rId74" Type="http://schemas.openxmlformats.org/officeDocument/2006/relationships/slideLayout" Target="../slideLayouts/slideLayout1000.xml"/><Relationship Id="rId128" Type="http://schemas.openxmlformats.org/officeDocument/2006/relationships/slideLayout" Target="../slideLayouts/slideLayout1054.xml"/><Relationship Id="rId149" Type="http://schemas.openxmlformats.org/officeDocument/2006/relationships/slideLayout" Target="../slideLayouts/slideLayout1075.xml"/><Relationship Id="rId5" Type="http://schemas.openxmlformats.org/officeDocument/2006/relationships/slideLayout" Target="../slideLayouts/slideLayout931.xml"/><Relationship Id="rId95" Type="http://schemas.openxmlformats.org/officeDocument/2006/relationships/slideLayout" Target="../slideLayouts/slideLayout1021.xml"/><Relationship Id="rId160" Type="http://schemas.openxmlformats.org/officeDocument/2006/relationships/slideLayout" Target="../slideLayouts/slideLayout1086.xml"/><Relationship Id="rId181" Type="http://schemas.openxmlformats.org/officeDocument/2006/relationships/slideLayout" Target="../slideLayouts/slideLayout1107.xml"/><Relationship Id="rId216" Type="http://schemas.openxmlformats.org/officeDocument/2006/relationships/slideLayout" Target="../slideLayouts/slideLayout1142.xml"/><Relationship Id="rId22" Type="http://schemas.openxmlformats.org/officeDocument/2006/relationships/slideLayout" Target="../slideLayouts/slideLayout948.xml"/><Relationship Id="rId43" Type="http://schemas.openxmlformats.org/officeDocument/2006/relationships/slideLayout" Target="../slideLayouts/slideLayout969.xml"/><Relationship Id="rId64" Type="http://schemas.openxmlformats.org/officeDocument/2006/relationships/slideLayout" Target="../slideLayouts/slideLayout990.xml"/><Relationship Id="rId118" Type="http://schemas.openxmlformats.org/officeDocument/2006/relationships/slideLayout" Target="../slideLayouts/slideLayout1044.xml"/><Relationship Id="rId139" Type="http://schemas.openxmlformats.org/officeDocument/2006/relationships/slideLayout" Target="../slideLayouts/slideLayout1065.xml"/><Relationship Id="rId85" Type="http://schemas.openxmlformats.org/officeDocument/2006/relationships/slideLayout" Target="../slideLayouts/slideLayout1011.xml"/><Relationship Id="rId150" Type="http://schemas.openxmlformats.org/officeDocument/2006/relationships/slideLayout" Target="../slideLayouts/slideLayout1076.xml"/><Relationship Id="rId171" Type="http://schemas.openxmlformats.org/officeDocument/2006/relationships/slideLayout" Target="../slideLayouts/slideLayout1097.xml"/><Relationship Id="rId192" Type="http://schemas.openxmlformats.org/officeDocument/2006/relationships/slideLayout" Target="../slideLayouts/slideLayout1118.xml"/><Relationship Id="rId206" Type="http://schemas.openxmlformats.org/officeDocument/2006/relationships/slideLayout" Target="../slideLayouts/slideLayout1132.xml"/><Relationship Id="rId227" Type="http://schemas.openxmlformats.org/officeDocument/2006/relationships/slideLayout" Target="../slideLayouts/slideLayout1153.xml"/><Relationship Id="rId12" Type="http://schemas.openxmlformats.org/officeDocument/2006/relationships/slideLayout" Target="../slideLayouts/slideLayout938.xml"/><Relationship Id="rId33" Type="http://schemas.openxmlformats.org/officeDocument/2006/relationships/slideLayout" Target="../slideLayouts/slideLayout959.xml"/><Relationship Id="rId108" Type="http://schemas.openxmlformats.org/officeDocument/2006/relationships/slideLayout" Target="../slideLayouts/slideLayout1034.xml"/><Relationship Id="rId129" Type="http://schemas.openxmlformats.org/officeDocument/2006/relationships/slideLayout" Target="../slideLayouts/slideLayout1055.xml"/><Relationship Id="rId54" Type="http://schemas.openxmlformats.org/officeDocument/2006/relationships/slideLayout" Target="../slideLayouts/slideLayout980.xml"/><Relationship Id="rId75" Type="http://schemas.openxmlformats.org/officeDocument/2006/relationships/slideLayout" Target="../slideLayouts/slideLayout1001.xml"/><Relationship Id="rId96" Type="http://schemas.openxmlformats.org/officeDocument/2006/relationships/slideLayout" Target="../slideLayouts/slideLayout1022.xml"/><Relationship Id="rId140" Type="http://schemas.openxmlformats.org/officeDocument/2006/relationships/slideLayout" Target="../slideLayouts/slideLayout1066.xml"/><Relationship Id="rId161" Type="http://schemas.openxmlformats.org/officeDocument/2006/relationships/slideLayout" Target="../slideLayouts/slideLayout1087.xml"/><Relationship Id="rId182" Type="http://schemas.openxmlformats.org/officeDocument/2006/relationships/slideLayout" Target="../slideLayouts/slideLayout1108.xml"/><Relationship Id="rId217" Type="http://schemas.openxmlformats.org/officeDocument/2006/relationships/slideLayout" Target="../slideLayouts/slideLayout1143.xml"/><Relationship Id="rId6" Type="http://schemas.openxmlformats.org/officeDocument/2006/relationships/slideLayout" Target="../slideLayouts/slideLayout932.xml"/><Relationship Id="rId23" Type="http://schemas.openxmlformats.org/officeDocument/2006/relationships/slideLayout" Target="../slideLayouts/slideLayout949.xml"/><Relationship Id="rId119" Type="http://schemas.openxmlformats.org/officeDocument/2006/relationships/slideLayout" Target="../slideLayouts/slideLayout1045.xml"/><Relationship Id="rId44" Type="http://schemas.openxmlformats.org/officeDocument/2006/relationships/slideLayout" Target="../slideLayouts/slideLayout970.xml"/><Relationship Id="rId65" Type="http://schemas.openxmlformats.org/officeDocument/2006/relationships/slideLayout" Target="../slideLayouts/slideLayout991.xml"/><Relationship Id="rId86" Type="http://schemas.openxmlformats.org/officeDocument/2006/relationships/slideLayout" Target="../slideLayouts/slideLayout1012.xml"/><Relationship Id="rId130" Type="http://schemas.openxmlformats.org/officeDocument/2006/relationships/slideLayout" Target="../slideLayouts/slideLayout1056.xml"/><Relationship Id="rId151" Type="http://schemas.openxmlformats.org/officeDocument/2006/relationships/slideLayout" Target="../slideLayouts/slideLayout1077.xml"/><Relationship Id="rId172" Type="http://schemas.openxmlformats.org/officeDocument/2006/relationships/slideLayout" Target="../slideLayouts/slideLayout1098.xml"/><Relationship Id="rId193" Type="http://schemas.openxmlformats.org/officeDocument/2006/relationships/slideLayout" Target="../slideLayouts/slideLayout1119.xml"/><Relationship Id="rId207" Type="http://schemas.openxmlformats.org/officeDocument/2006/relationships/slideLayout" Target="../slideLayouts/slideLayout1133.xml"/><Relationship Id="rId228" Type="http://schemas.openxmlformats.org/officeDocument/2006/relationships/slideLayout" Target="../slideLayouts/slideLayout1154.xml"/><Relationship Id="rId13" Type="http://schemas.openxmlformats.org/officeDocument/2006/relationships/slideLayout" Target="../slideLayouts/slideLayout939.xml"/><Relationship Id="rId109" Type="http://schemas.openxmlformats.org/officeDocument/2006/relationships/slideLayout" Target="../slideLayouts/slideLayout1035.xml"/><Relationship Id="rId34" Type="http://schemas.openxmlformats.org/officeDocument/2006/relationships/slideLayout" Target="../slideLayouts/slideLayout960.xml"/><Relationship Id="rId55" Type="http://schemas.openxmlformats.org/officeDocument/2006/relationships/slideLayout" Target="../slideLayouts/slideLayout981.xml"/><Relationship Id="rId76" Type="http://schemas.openxmlformats.org/officeDocument/2006/relationships/slideLayout" Target="../slideLayouts/slideLayout1002.xml"/><Relationship Id="rId97" Type="http://schemas.openxmlformats.org/officeDocument/2006/relationships/slideLayout" Target="../slideLayouts/slideLayout1023.xml"/><Relationship Id="rId120" Type="http://schemas.openxmlformats.org/officeDocument/2006/relationships/slideLayout" Target="../slideLayouts/slideLayout1046.xml"/><Relationship Id="rId141" Type="http://schemas.openxmlformats.org/officeDocument/2006/relationships/slideLayout" Target="../slideLayouts/slideLayout1067.xml"/><Relationship Id="rId7" Type="http://schemas.openxmlformats.org/officeDocument/2006/relationships/slideLayout" Target="../slideLayouts/slideLayout933.xml"/><Relationship Id="rId162" Type="http://schemas.openxmlformats.org/officeDocument/2006/relationships/slideLayout" Target="../slideLayouts/slideLayout1088.xml"/><Relationship Id="rId183" Type="http://schemas.openxmlformats.org/officeDocument/2006/relationships/slideLayout" Target="../slideLayouts/slideLayout1109.xml"/><Relationship Id="rId218" Type="http://schemas.openxmlformats.org/officeDocument/2006/relationships/slideLayout" Target="../slideLayouts/slideLayout1144.xml"/><Relationship Id="rId24" Type="http://schemas.openxmlformats.org/officeDocument/2006/relationships/slideLayout" Target="../slideLayouts/slideLayout950.xml"/><Relationship Id="rId45" Type="http://schemas.openxmlformats.org/officeDocument/2006/relationships/slideLayout" Target="../slideLayouts/slideLayout971.xml"/><Relationship Id="rId66" Type="http://schemas.openxmlformats.org/officeDocument/2006/relationships/slideLayout" Target="../slideLayouts/slideLayout992.xml"/><Relationship Id="rId87" Type="http://schemas.openxmlformats.org/officeDocument/2006/relationships/slideLayout" Target="../slideLayouts/slideLayout1013.xml"/><Relationship Id="rId110" Type="http://schemas.openxmlformats.org/officeDocument/2006/relationships/slideLayout" Target="../slideLayouts/slideLayout1036.xml"/><Relationship Id="rId131" Type="http://schemas.openxmlformats.org/officeDocument/2006/relationships/slideLayout" Target="../slideLayouts/slideLayout1057.xml"/><Relationship Id="rId152" Type="http://schemas.openxmlformats.org/officeDocument/2006/relationships/slideLayout" Target="../slideLayouts/slideLayout1078.xml"/><Relationship Id="rId173" Type="http://schemas.openxmlformats.org/officeDocument/2006/relationships/slideLayout" Target="../slideLayouts/slideLayout1099.xml"/><Relationship Id="rId194" Type="http://schemas.openxmlformats.org/officeDocument/2006/relationships/slideLayout" Target="../slideLayouts/slideLayout1120.xml"/><Relationship Id="rId208" Type="http://schemas.openxmlformats.org/officeDocument/2006/relationships/slideLayout" Target="../slideLayouts/slideLayout1134.xml"/><Relationship Id="rId229" Type="http://schemas.openxmlformats.org/officeDocument/2006/relationships/slideLayout" Target="../slideLayouts/slideLayout1155.xml"/><Relationship Id="rId14" Type="http://schemas.openxmlformats.org/officeDocument/2006/relationships/slideLayout" Target="../slideLayouts/slideLayout940.xml"/><Relationship Id="rId35" Type="http://schemas.openxmlformats.org/officeDocument/2006/relationships/slideLayout" Target="../slideLayouts/slideLayout961.xml"/><Relationship Id="rId56" Type="http://schemas.openxmlformats.org/officeDocument/2006/relationships/slideLayout" Target="../slideLayouts/slideLayout982.xml"/><Relationship Id="rId77" Type="http://schemas.openxmlformats.org/officeDocument/2006/relationships/slideLayout" Target="../slideLayouts/slideLayout1003.xml"/><Relationship Id="rId100" Type="http://schemas.openxmlformats.org/officeDocument/2006/relationships/slideLayout" Target="../slideLayouts/slideLayout1026.xml"/><Relationship Id="rId8" Type="http://schemas.openxmlformats.org/officeDocument/2006/relationships/slideLayout" Target="../slideLayouts/slideLayout934.xml"/><Relationship Id="rId98" Type="http://schemas.openxmlformats.org/officeDocument/2006/relationships/slideLayout" Target="../slideLayouts/slideLayout1024.xml"/><Relationship Id="rId121" Type="http://schemas.openxmlformats.org/officeDocument/2006/relationships/slideLayout" Target="../slideLayouts/slideLayout1047.xml"/><Relationship Id="rId142" Type="http://schemas.openxmlformats.org/officeDocument/2006/relationships/slideLayout" Target="../slideLayouts/slideLayout1068.xml"/><Relationship Id="rId163" Type="http://schemas.openxmlformats.org/officeDocument/2006/relationships/slideLayout" Target="../slideLayouts/slideLayout1089.xml"/><Relationship Id="rId184" Type="http://schemas.openxmlformats.org/officeDocument/2006/relationships/slideLayout" Target="../slideLayouts/slideLayout1110.xml"/><Relationship Id="rId219" Type="http://schemas.openxmlformats.org/officeDocument/2006/relationships/slideLayout" Target="../slideLayouts/slideLayout1145.xml"/><Relationship Id="rId230" Type="http://schemas.openxmlformats.org/officeDocument/2006/relationships/slideLayout" Target="../slideLayouts/slideLayout1156.xml"/><Relationship Id="rId25" Type="http://schemas.openxmlformats.org/officeDocument/2006/relationships/slideLayout" Target="../slideLayouts/slideLayout951.xml"/><Relationship Id="rId46" Type="http://schemas.openxmlformats.org/officeDocument/2006/relationships/slideLayout" Target="../slideLayouts/slideLayout972.xml"/><Relationship Id="rId67" Type="http://schemas.openxmlformats.org/officeDocument/2006/relationships/slideLayout" Target="../slideLayouts/slideLayout993.xml"/><Relationship Id="rId116" Type="http://schemas.openxmlformats.org/officeDocument/2006/relationships/slideLayout" Target="../slideLayouts/slideLayout1042.xml"/><Relationship Id="rId137" Type="http://schemas.openxmlformats.org/officeDocument/2006/relationships/slideLayout" Target="../slideLayouts/slideLayout1063.xml"/><Relationship Id="rId158" Type="http://schemas.openxmlformats.org/officeDocument/2006/relationships/slideLayout" Target="../slideLayouts/slideLayout1084.xml"/><Relationship Id="rId20" Type="http://schemas.openxmlformats.org/officeDocument/2006/relationships/slideLayout" Target="../slideLayouts/slideLayout946.xml"/><Relationship Id="rId41" Type="http://schemas.openxmlformats.org/officeDocument/2006/relationships/slideLayout" Target="../slideLayouts/slideLayout967.xml"/><Relationship Id="rId62" Type="http://schemas.openxmlformats.org/officeDocument/2006/relationships/slideLayout" Target="../slideLayouts/slideLayout988.xml"/><Relationship Id="rId83" Type="http://schemas.openxmlformats.org/officeDocument/2006/relationships/slideLayout" Target="../slideLayouts/slideLayout1009.xml"/><Relationship Id="rId88" Type="http://schemas.openxmlformats.org/officeDocument/2006/relationships/slideLayout" Target="../slideLayouts/slideLayout1014.xml"/><Relationship Id="rId111" Type="http://schemas.openxmlformats.org/officeDocument/2006/relationships/slideLayout" Target="../slideLayouts/slideLayout1037.xml"/><Relationship Id="rId132" Type="http://schemas.openxmlformats.org/officeDocument/2006/relationships/slideLayout" Target="../slideLayouts/slideLayout1058.xml"/><Relationship Id="rId153" Type="http://schemas.openxmlformats.org/officeDocument/2006/relationships/slideLayout" Target="../slideLayouts/slideLayout1079.xml"/><Relationship Id="rId174" Type="http://schemas.openxmlformats.org/officeDocument/2006/relationships/slideLayout" Target="../slideLayouts/slideLayout1100.xml"/><Relationship Id="rId179" Type="http://schemas.openxmlformats.org/officeDocument/2006/relationships/slideLayout" Target="../slideLayouts/slideLayout1105.xml"/><Relationship Id="rId195" Type="http://schemas.openxmlformats.org/officeDocument/2006/relationships/slideLayout" Target="../slideLayouts/slideLayout1121.xml"/><Relationship Id="rId209" Type="http://schemas.openxmlformats.org/officeDocument/2006/relationships/slideLayout" Target="../slideLayouts/slideLayout1135.xml"/><Relationship Id="rId190" Type="http://schemas.openxmlformats.org/officeDocument/2006/relationships/slideLayout" Target="../slideLayouts/slideLayout1116.xml"/><Relationship Id="rId204" Type="http://schemas.openxmlformats.org/officeDocument/2006/relationships/slideLayout" Target="../slideLayouts/slideLayout1130.xml"/><Relationship Id="rId220" Type="http://schemas.openxmlformats.org/officeDocument/2006/relationships/slideLayout" Target="../slideLayouts/slideLayout1146.xml"/><Relationship Id="rId225" Type="http://schemas.openxmlformats.org/officeDocument/2006/relationships/slideLayout" Target="../slideLayouts/slideLayout1151.xml"/><Relationship Id="rId15" Type="http://schemas.openxmlformats.org/officeDocument/2006/relationships/slideLayout" Target="../slideLayouts/slideLayout941.xml"/><Relationship Id="rId36" Type="http://schemas.openxmlformats.org/officeDocument/2006/relationships/slideLayout" Target="../slideLayouts/slideLayout962.xml"/><Relationship Id="rId57" Type="http://schemas.openxmlformats.org/officeDocument/2006/relationships/slideLayout" Target="../slideLayouts/slideLayout983.xml"/><Relationship Id="rId106" Type="http://schemas.openxmlformats.org/officeDocument/2006/relationships/slideLayout" Target="../slideLayouts/slideLayout1032.xml"/><Relationship Id="rId127" Type="http://schemas.openxmlformats.org/officeDocument/2006/relationships/slideLayout" Target="../slideLayouts/slideLayout1053.xml"/><Relationship Id="rId10" Type="http://schemas.openxmlformats.org/officeDocument/2006/relationships/slideLayout" Target="../slideLayouts/slideLayout936.xml"/><Relationship Id="rId31" Type="http://schemas.openxmlformats.org/officeDocument/2006/relationships/slideLayout" Target="../slideLayouts/slideLayout957.xml"/><Relationship Id="rId52" Type="http://schemas.openxmlformats.org/officeDocument/2006/relationships/slideLayout" Target="../slideLayouts/slideLayout978.xml"/><Relationship Id="rId73" Type="http://schemas.openxmlformats.org/officeDocument/2006/relationships/slideLayout" Target="../slideLayouts/slideLayout999.xml"/><Relationship Id="rId78" Type="http://schemas.openxmlformats.org/officeDocument/2006/relationships/slideLayout" Target="../slideLayouts/slideLayout1004.xml"/><Relationship Id="rId94" Type="http://schemas.openxmlformats.org/officeDocument/2006/relationships/slideLayout" Target="../slideLayouts/slideLayout1020.xml"/><Relationship Id="rId99" Type="http://schemas.openxmlformats.org/officeDocument/2006/relationships/slideLayout" Target="../slideLayouts/slideLayout1025.xml"/><Relationship Id="rId101" Type="http://schemas.openxmlformats.org/officeDocument/2006/relationships/slideLayout" Target="../slideLayouts/slideLayout1027.xml"/><Relationship Id="rId122" Type="http://schemas.openxmlformats.org/officeDocument/2006/relationships/slideLayout" Target="../slideLayouts/slideLayout1048.xml"/><Relationship Id="rId143" Type="http://schemas.openxmlformats.org/officeDocument/2006/relationships/slideLayout" Target="../slideLayouts/slideLayout1069.xml"/><Relationship Id="rId148" Type="http://schemas.openxmlformats.org/officeDocument/2006/relationships/slideLayout" Target="../slideLayouts/slideLayout1074.xml"/><Relationship Id="rId164" Type="http://schemas.openxmlformats.org/officeDocument/2006/relationships/slideLayout" Target="../slideLayouts/slideLayout1090.xml"/><Relationship Id="rId169" Type="http://schemas.openxmlformats.org/officeDocument/2006/relationships/slideLayout" Target="../slideLayouts/slideLayout1095.xml"/><Relationship Id="rId185" Type="http://schemas.openxmlformats.org/officeDocument/2006/relationships/slideLayout" Target="../slideLayouts/slideLayout1111.xml"/><Relationship Id="rId4" Type="http://schemas.openxmlformats.org/officeDocument/2006/relationships/slideLayout" Target="../slideLayouts/slideLayout930.xml"/><Relationship Id="rId9" Type="http://schemas.openxmlformats.org/officeDocument/2006/relationships/slideLayout" Target="../slideLayouts/slideLayout935.xml"/><Relationship Id="rId180" Type="http://schemas.openxmlformats.org/officeDocument/2006/relationships/slideLayout" Target="../slideLayouts/slideLayout1106.xml"/><Relationship Id="rId210" Type="http://schemas.openxmlformats.org/officeDocument/2006/relationships/slideLayout" Target="../slideLayouts/slideLayout1136.xml"/><Relationship Id="rId215" Type="http://schemas.openxmlformats.org/officeDocument/2006/relationships/slideLayout" Target="../slideLayouts/slideLayout1141.xml"/><Relationship Id="rId26" Type="http://schemas.openxmlformats.org/officeDocument/2006/relationships/slideLayout" Target="../slideLayouts/slideLayout952.xml"/><Relationship Id="rId231" Type="http://schemas.openxmlformats.org/officeDocument/2006/relationships/slideLayout" Target="../slideLayouts/slideLayout1157.xml"/><Relationship Id="rId47" Type="http://schemas.openxmlformats.org/officeDocument/2006/relationships/slideLayout" Target="../slideLayouts/slideLayout973.xml"/><Relationship Id="rId68" Type="http://schemas.openxmlformats.org/officeDocument/2006/relationships/slideLayout" Target="../slideLayouts/slideLayout994.xml"/><Relationship Id="rId89" Type="http://schemas.openxmlformats.org/officeDocument/2006/relationships/slideLayout" Target="../slideLayouts/slideLayout1015.xml"/><Relationship Id="rId112" Type="http://schemas.openxmlformats.org/officeDocument/2006/relationships/slideLayout" Target="../slideLayouts/slideLayout1038.xml"/><Relationship Id="rId133" Type="http://schemas.openxmlformats.org/officeDocument/2006/relationships/slideLayout" Target="../slideLayouts/slideLayout1059.xml"/><Relationship Id="rId154" Type="http://schemas.openxmlformats.org/officeDocument/2006/relationships/slideLayout" Target="../slideLayouts/slideLayout1080.xml"/><Relationship Id="rId175" Type="http://schemas.openxmlformats.org/officeDocument/2006/relationships/slideLayout" Target="../slideLayouts/slideLayout1101.xml"/><Relationship Id="rId196" Type="http://schemas.openxmlformats.org/officeDocument/2006/relationships/slideLayout" Target="../slideLayouts/slideLayout1122.xml"/><Relationship Id="rId200" Type="http://schemas.openxmlformats.org/officeDocument/2006/relationships/slideLayout" Target="../slideLayouts/slideLayout1126.xml"/><Relationship Id="rId16" Type="http://schemas.openxmlformats.org/officeDocument/2006/relationships/slideLayout" Target="../slideLayouts/slideLayout942.xml"/><Relationship Id="rId221" Type="http://schemas.openxmlformats.org/officeDocument/2006/relationships/slideLayout" Target="../slideLayouts/slideLayout1147.xml"/><Relationship Id="rId37" Type="http://schemas.openxmlformats.org/officeDocument/2006/relationships/slideLayout" Target="../slideLayouts/slideLayout963.xml"/><Relationship Id="rId58" Type="http://schemas.openxmlformats.org/officeDocument/2006/relationships/slideLayout" Target="../slideLayouts/slideLayout984.xml"/><Relationship Id="rId79" Type="http://schemas.openxmlformats.org/officeDocument/2006/relationships/slideLayout" Target="../slideLayouts/slideLayout1005.xml"/><Relationship Id="rId102" Type="http://schemas.openxmlformats.org/officeDocument/2006/relationships/slideLayout" Target="../slideLayouts/slideLayout1028.xml"/><Relationship Id="rId123" Type="http://schemas.openxmlformats.org/officeDocument/2006/relationships/slideLayout" Target="../slideLayouts/slideLayout1049.xml"/><Relationship Id="rId144" Type="http://schemas.openxmlformats.org/officeDocument/2006/relationships/slideLayout" Target="../slideLayouts/slideLayout1070.xml"/><Relationship Id="rId90" Type="http://schemas.openxmlformats.org/officeDocument/2006/relationships/slideLayout" Target="../slideLayouts/slideLayout1016.xml"/><Relationship Id="rId165" Type="http://schemas.openxmlformats.org/officeDocument/2006/relationships/slideLayout" Target="../slideLayouts/slideLayout1091.xml"/><Relationship Id="rId186" Type="http://schemas.openxmlformats.org/officeDocument/2006/relationships/slideLayout" Target="../slideLayouts/slideLayout1112.xml"/><Relationship Id="rId211" Type="http://schemas.openxmlformats.org/officeDocument/2006/relationships/slideLayout" Target="../slideLayouts/slideLayout1137.xml"/><Relationship Id="rId232" Type="http://schemas.openxmlformats.org/officeDocument/2006/relationships/theme" Target="../theme/theme4.xml"/><Relationship Id="rId27" Type="http://schemas.openxmlformats.org/officeDocument/2006/relationships/slideLayout" Target="../slideLayouts/slideLayout953.xml"/><Relationship Id="rId48" Type="http://schemas.openxmlformats.org/officeDocument/2006/relationships/slideLayout" Target="../slideLayouts/slideLayout974.xml"/><Relationship Id="rId69" Type="http://schemas.openxmlformats.org/officeDocument/2006/relationships/slideLayout" Target="../slideLayouts/slideLayout995.xml"/><Relationship Id="rId113" Type="http://schemas.openxmlformats.org/officeDocument/2006/relationships/slideLayout" Target="../slideLayouts/slideLayout1039.xml"/><Relationship Id="rId134" Type="http://schemas.openxmlformats.org/officeDocument/2006/relationships/slideLayout" Target="../slideLayouts/slideLayout1060.xml"/><Relationship Id="rId80" Type="http://schemas.openxmlformats.org/officeDocument/2006/relationships/slideLayout" Target="../slideLayouts/slideLayout1006.xml"/><Relationship Id="rId155" Type="http://schemas.openxmlformats.org/officeDocument/2006/relationships/slideLayout" Target="../slideLayouts/slideLayout1081.xml"/><Relationship Id="rId176" Type="http://schemas.openxmlformats.org/officeDocument/2006/relationships/slideLayout" Target="../slideLayouts/slideLayout1102.xml"/><Relationship Id="rId197" Type="http://schemas.openxmlformats.org/officeDocument/2006/relationships/slideLayout" Target="../slideLayouts/slideLayout1123.xml"/><Relationship Id="rId201" Type="http://schemas.openxmlformats.org/officeDocument/2006/relationships/slideLayout" Target="../slideLayouts/slideLayout1127.xml"/><Relationship Id="rId222" Type="http://schemas.openxmlformats.org/officeDocument/2006/relationships/slideLayout" Target="../slideLayouts/slideLayout1148.xml"/><Relationship Id="rId17" Type="http://schemas.openxmlformats.org/officeDocument/2006/relationships/slideLayout" Target="../slideLayouts/slideLayout943.xml"/><Relationship Id="rId38" Type="http://schemas.openxmlformats.org/officeDocument/2006/relationships/slideLayout" Target="../slideLayouts/slideLayout964.xml"/><Relationship Id="rId59" Type="http://schemas.openxmlformats.org/officeDocument/2006/relationships/slideLayout" Target="../slideLayouts/slideLayout985.xml"/><Relationship Id="rId103" Type="http://schemas.openxmlformats.org/officeDocument/2006/relationships/slideLayout" Target="../slideLayouts/slideLayout1029.xml"/><Relationship Id="rId124" Type="http://schemas.openxmlformats.org/officeDocument/2006/relationships/slideLayout" Target="../slideLayouts/slideLayout1050.xml"/><Relationship Id="rId70" Type="http://schemas.openxmlformats.org/officeDocument/2006/relationships/slideLayout" Target="../slideLayouts/slideLayout996.xml"/><Relationship Id="rId91" Type="http://schemas.openxmlformats.org/officeDocument/2006/relationships/slideLayout" Target="../slideLayouts/slideLayout1017.xml"/><Relationship Id="rId145" Type="http://schemas.openxmlformats.org/officeDocument/2006/relationships/slideLayout" Target="../slideLayouts/slideLayout1071.xml"/><Relationship Id="rId166" Type="http://schemas.openxmlformats.org/officeDocument/2006/relationships/slideLayout" Target="../slideLayouts/slideLayout1092.xml"/><Relationship Id="rId187" Type="http://schemas.openxmlformats.org/officeDocument/2006/relationships/slideLayout" Target="../slideLayouts/slideLayout1113.xml"/><Relationship Id="rId1" Type="http://schemas.openxmlformats.org/officeDocument/2006/relationships/slideLayout" Target="../slideLayouts/slideLayout927.xml"/><Relationship Id="rId212" Type="http://schemas.openxmlformats.org/officeDocument/2006/relationships/slideLayout" Target="../slideLayouts/slideLayout1138.xml"/><Relationship Id="rId28" Type="http://schemas.openxmlformats.org/officeDocument/2006/relationships/slideLayout" Target="../slideLayouts/slideLayout954.xml"/><Relationship Id="rId49" Type="http://schemas.openxmlformats.org/officeDocument/2006/relationships/slideLayout" Target="../slideLayouts/slideLayout975.xml"/><Relationship Id="rId114" Type="http://schemas.openxmlformats.org/officeDocument/2006/relationships/slideLayout" Target="../slideLayouts/slideLayout1040.xml"/><Relationship Id="rId60" Type="http://schemas.openxmlformats.org/officeDocument/2006/relationships/slideLayout" Target="../slideLayouts/slideLayout986.xml"/><Relationship Id="rId81" Type="http://schemas.openxmlformats.org/officeDocument/2006/relationships/slideLayout" Target="../slideLayouts/slideLayout1007.xml"/><Relationship Id="rId135" Type="http://schemas.openxmlformats.org/officeDocument/2006/relationships/slideLayout" Target="../slideLayouts/slideLayout1061.xml"/><Relationship Id="rId156" Type="http://schemas.openxmlformats.org/officeDocument/2006/relationships/slideLayout" Target="../slideLayouts/slideLayout1082.xml"/><Relationship Id="rId177" Type="http://schemas.openxmlformats.org/officeDocument/2006/relationships/slideLayout" Target="../slideLayouts/slideLayout1103.xml"/><Relationship Id="rId198" Type="http://schemas.openxmlformats.org/officeDocument/2006/relationships/slideLayout" Target="../slideLayouts/slideLayout1124.xml"/><Relationship Id="rId202" Type="http://schemas.openxmlformats.org/officeDocument/2006/relationships/slideLayout" Target="../slideLayouts/slideLayout1128.xml"/><Relationship Id="rId223" Type="http://schemas.openxmlformats.org/officeDocument/2006/relationships/slideLayout" Target="../slideLayouts/slideLayout1149.xml"/><Relationship Id="rId18" Type="http://schemas.openxmlformats.org/officeDocument/2006/relationships/slideLayout" Target="../slideLayouts/slideLayout944.xml"/><Relationship Id="rId39" Type="http://schemas.openxmlformats.org/officeDocument/2006/relationships/slideLayout" Target="../slideLayouts/slideLayout965.xml"/><Relationship Id="rId50" Type="http://schemas.openxmlformats.org/officeDocument/2006/relationships/slideLayout" Target="../slideLayouts/slideLayout976.xml"/><Relationship Id="rId104" Type="http://schemas.openxmlformats.org/officeDocument/2006/relationships/slideLayout" Target="../slideLayouts/slideLayout1030.xml"/><Relationship Id="rId125" Type="http://schemas.openxmlformats.org/officeDocument/2006/relationships/slideLayout" Target="../slideLayouts/slideLayout1051.xml"/><Relationship Id="rId146" Type="http://schemas.openxmlformats.org/officeDocument/2006/relationships/slideLayout" Target="../slideLayouts/slideLayout1072.xml"/><Relationship Id="rId167" Type="http://schemas.openxmlformats.org/officeDocument/2006/relationships/slideLayout" Target="../slideLayouts/slideLayout1093.xml"/><Relationship Id="rId188" Type="http://schemas.openxmlformats.org/officeDocument/2006/relationships/slideLayout" Target="../slideLayouts/slideLayout1114.xml"/><Relationship Id="rId71" Type="http://schemas.openxmlformats.org/officeDocument/2006/relationships/slideLayout" Target="../slideLayouts/slideLayout997.xml"/><Relationship Id="rId92" Type="http://schemas.openxmlformats.org/officeDocument/2006/relationships/slideLayout" Target="../slideLayouts/slideLayout1018.xml"/><Relationship Id="rId213" Type="http://schemas.openxmlformats.org/officeDocument/2006/relationships/slideLayout" Target="../slideLayouts/slideLayout1139.xml"/><Relationship Id="rId2" Type="http://schemas.openxmlformats.org/officeDocument/2006/relationships/slideLayout" Target="../slideLayouts/slideLayout928.xml"/><Relationship Id="rId29" Type="http://schemas.openxmlformats.org/officeDocument/2006/relationships/slideLayout" Target="../slideLayouts/slideLayout955.xml"/><Relationship Id="rId40" Type="http://schemas.openxmlformats.org/officeDocument/2006/relationships/slideLayout" Target="../slideLayouts/slideLayout966.xml"/><Relationship Id="rId115" Type="http://schemas.openxmlformats.org/officeDocument/2006/relationships/slideLayout" Target="../slideLayouts/slideLayout1041.xml"/><Relationship Id="rId136" Type="http://schemas.openxmlformats.org/officeDocument/2006/relationships/slideLayout" Target="../slideLayouts/slideLayout1062.xml"/><Relationship Id="rId157" Type="http://schemas.openxmlformats.org/officeDocument/2006/relationships/slideLayout" Target="../slideLayouts/slideLayout1083.xml"/><Relationship Id="rId178" Type="http://schemas.openxmlformats.org/officeDocument/2006/relationships/slideLayout" Target="../slideLayouts/slideLayout1104.xml"/><Relationship Id="rId61" Type="http://schemas.openxmlformats.org/officeDocument/2006/relationships/slideLayout" Target="../slideLayouts/slideLayout987.xml"/><Relationship Id="rId82" Type="http://schemas.openxmlformats.org/officeDocument/2006/relationships/slideLayout" Target="../slideLayouts/slideLayout1008.xml"/><Relationship Id="rId199" Type="http://schemas.openxmlformats.org/officeDocument/2006/relationships/slideLayout" Target="../slideLayouts/slideLayout1125.xml"/><Relationship Id="rId203" Type="http://schemas.openxmlformats.org/officeDocument/2006/relationships/slideLayout" Target="../slideLayouts/slideLayout1129.xml"/><Relationship Id="rId19" Type="http://schemas.openxmlformats.org/officeDocument/2006/relationships/slideLayout" Target="../slideLayouts/slideLayout945.xml"/><Relationship Id="rId224" Type="http://schemas.openxmlformats.org/officeDocument/2006/relationships/slideLayout" Target="../slideLayouts/slideLayout1150.xml"/><Relationship Id="rId30" Type="http://schemas.openxmlformats.org/officeDocument/2006/relationships/slideLayout" Target="../slideLayouts/slideLayout956.xml"/><Relationship Id="rId105" Type="http://schemas.openxmlformats.org/officeDocument/2006/relationships/slideLayout" Target="../slideLayouts/slideLayout1031.xml"/><Relationship Id="rId126" Type="http://schemas.openxmlformats.org/officeDocument/2006/relationships/slideLayout" Target="../slideLayouts/slideLayout1052.xml"/><Relationship Id="rId147" Type="http://schemas.openxmlformats.org/officeDocument/2006/relationships/slideLayout" Target="../slideLayouts/slideLayout1073.xml"/><Relationship Id="rId168" Type="http://schemas.openxmlformats.org/officeDocument/2006/relationships/slideLayout" Target="../slideLayouts/slideLayout1094.xml"/><Relationship Id="rId51" Type="http://schemas.openxmlformats.org/officeDocument/2006/relationships/slideLayout" Target="../slideLayouts/slideLayout977.xml"/><Relationship Id="rId72" Type="http://schemas.openxmlformats.org/officeDocument/2006/relationships/slideLayout" Target="../slideLayouts/slideLayout998.xml"/><Relationship Id="rId93" Type="http://schemas.openxmlformats.org/officeDocument/2006/relationships/slideLayout" Target="../slideLayouts/slideLayout1019.xml"/><Relationship Id="rId189" Type="http://schemas.openxmlformats.org/officeDocument/2006/relationships/slideLayout" Target="../slideLayouts/slideLayout1115.xml"/><Relationship Id="rId3" Type="http://schemas.openxmlformats.org/officeDocument/2006/relationships/slideLayout" Target="../slideLayouts/slideLayout929.xml"/><Relationship Id="rId214" Type="http://schemas.openxmlformats.org/officeDocument/2006/relationships/slideLayout" Target="../slideLayouts/slideLayout11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5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1160.xml"/><Relationship Id="rId7" Type="http://schemas.openxmlformats.org/officeDocument/2006/relationships/slideLayout" Target="../slideLayouts/slideLayout1164.xml"/><Relationship Id="rId12" Type="http://schemas.openxmlformats.org/officeDocument/2006/relationships/slideLayout" Target="../slideLayouts/slideLayout1169.xml"/><Relationship Id="rId2" Type="http://schemas.openxmlformats.org/officeDocument/2006/relationships/slideLayout" Target="../slideLayouts/slideLayout1159.xml"/><Relationship Id="rId1" Type="http://schemas.openxmlformats.org/officeDocument/2006/relationships/slideLayout" Target="../slideLayouts/slideLayout1158.xml"/><Relationship Id="rId6" Type="http://schemas.openxmlformats.org/officeDocument/2006/relationships/slideLayout" Target="../slideLayouts/slideLayout1163.xml"/><Relationship Id="rId11" Type="http://schemas.openxmlformats.org/officeDocument/2006/relationships/slideLayout" Target="../slideLayouts/slideLayout1168.xml"/><Relationship Id="rId5" Type="http://schemas.openxmlformats.org/officeDocument/2006/relationships/slideLayout" Target="../slideLayouts/slideLayout1162.xml"/><Relationship Id="rId10" Type="http://schemas.openxmlformats.org/officeDocument/2006/relationships/slideLayout" Target="../slideLayouts/slideLayout1167.xml"/><Relationship Id="rId4" Type="http://schemas.openxmlformats.org/officeDocument/2006/relationships/slideLayout" Target="../slideLayouts/slideLayout1161.xml"/><Relationship Id="rId9" Type="http://schemas.openxmlformats.org/officeDocument/2006/relationships/slideLayout" Target="../slideLayouts/slideLayout1166.xml"/></Relationships>
</file>

<file path=ppt/slideMasters/_rels/slideMaster6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286.xml"/><Relationship Id="rId299" Type="http://schemas.openxmlformats.org/officeDocument/2006/relationships/slideLayout" Target="../slideLayouts/slideLayout1468.xml"/><Relationship Id="rId21" Type="http://schemas.openxmlformats.org/officeDocument/2006/relationships/slideLayout" Target="../slideLayouts/slideLayout1190.xml"/><Relationship Id="rId63" Type="http://schemas.openxmlformats.org/officeDocument/2006/relationships/slideLayout" Target="../slideLayouts/slideLayout1232.xml"/><Relationship Id="rId159" Type="http://schemas.openxmlformats.org/officeDocument/2006/relationships/slideLayout" Target="../slideLayouts/slideLayout1328.xml"/><Relationship Id="rId324" Type="http://schemas.openxmlformats.org/officeDocument/2006/relationships/slideLayout" Target="../slideLayouts/slideLayout1493.xml"/><Relationship Id="rId170" Type="http://schemas.openxmlformats.org/officeDocument/2006/relationships/slideLayout" Target="../slideLayouts/slideLayout1339.xml"/><Relationship Id="rId226" Type="http://schemas.openxmlformats.org/officeDocument/2006/relationships/slideLayout" Target="../slideLayouts/slideLayout1395.xml"/><Relationship Id="rId268" Type="http://schemas.openxmlformats.org/officeDocument/2006/relationships/slideLayout" Target="../slideLayouts/slideLayout1437.xml"/><Relationship Id="rId32" Type="http://schemas.openxmlformats.org/officeDocument/2006/relationships/slideLayout" Target="../slideLayouts/slideLayout1201.xml"/><Relationship Id="rId74" Type="http://schemas.openxmlformats.org/officeDocument/2006/relationships/slideLayout" Target="../slideLayouts/slideLayout1243.xml"/><Relationship Id="rId128" Type="http://schemas.openxmlformats.org/officeDocument/2006/relationships/slideLayout" Target="../slideLayouts/slideLayout1297.xml"/><Relationship Id="rId5" Type="http://schemas.openxmlformats.org/officeDocument/2006/relationships/slideLayout" Target="../slideLayouts/slideLayout1174.xml"/><Relationship Id="rId181" Type="http://schemas.openxmlformats.org/officeDocument/2006/relationships/slideLayout" Target="../slideLayouts/slideLayout1350.xml"/><Relationship Id="rId237" Type="http://schemas.openxmlformats.org/officeDocument/2006/relationships/slideLayout" Target="../slideLayouts/slideLayout1406.xml"/><Relationship Id="rId279" Type="http://schemas.openxmlformats.org/officeDocument/2006/relationships/slideLayout" Target="../slideLayouts/slideLayout1448.xml"/><Relationship Id="rId43" Type="http://schemas.openxmlformats.org/officeDocument/2006/relationships/slideLayout" Target="../slideLayouts/slideLayout1212.xml"/><Relationship Id="rId139" Type="http://schemas.openxmlformats.org/officeDocument/2006/relationships/slideLayout" Target="../slideLayouts/slideLayout1308.xml"/><Relationship Id="rId290" Type="http://schemas.openxmlformats.org/officeDocument/2006/relationships/slideLayout" Target="../slideLayouts/slideLayout1459.xml"/><Relationship Id="rId304" Type="http://schemas.openxmlformats.org/officeDocument/2006/relationships/slideLayout" Target="../slideLayouts/slideLayout1473.xml"/><Relationship Id="rId85" Type="http://schemas.openxmlformats.org/officeDocument/2006/relationships/slideLayout" Target="../slideLayouts/slideLayout1254.xml"/><Relationship Id="rId150" Type="http://schemas.openxmlformats.org/officeDocument/2006/relationships/slideLayout" Target="../slideLayouts/slideLayout1319.xml"/><Relationship Id="rId192" Type="http://schemas.openxmlformats.org/officeDocument/2006/relationships/slideLayout" Target="../slideLayouts/slideLayout1361.xml"/><Relationship Id="rId206" Type="http://schemas.openxmlformats.org/officeDocument/2006/relationships/slideLayout" Target="../slideLayouts/slideLayout1375.xml"/><Relationship Id="rId248" Type="http://schemas.openxmlformats.org/officeDocument/2006/relationships/slideLayout" Target="../slideLayouts/slideLayout1417.xml"/><Relationship Id="rId12" Type="http://schemas.openxmlformats.org/officeDocument/2006/relationships/slideLayout" Target="../slideLayouts/slideLayout1181.xml"/><Relationship Id="rId108" Type="http://schemas.openxmlformats.org/officeDocument/2006/relationships/slideLayout" Target="../slideLayouts/slideLayout1277.xml"/><Relationship Id="rId315" Type="http://schemas.openxmlformats.org/officeDocument/2006/relationships/slideLayout" Target="../slideLayouts/slideLayout1484.xml"/><Relationship Id="rId54" Type="http://schemas.openxmlformats.org/officeDocument/2006/relationships/slideLayout" Target="../slideLayouts/slideLayout1223.xml"/><Relationship Id="rId96" Type="http://schemas.openxmlformats.org/officeDocument/2006/relationships/slideLayout" Target="../slideLayouts/slideLayout1265.xml"/><Relationship Id="rId161" Type="http://schemas.openxmlformats.org/officeDocument/2006/relationships/slideLayout" Target="../slideLayouts/slideLayout1330.xml"/><Relationship Id="rId217" Type="http://schemas.openxmlformats.org/officeDocument/2006/relationships/slideLayout" Target="../slideLayouts/slideLayout1386.xml"/><Relationship Id="rId259" Type="http://schemas.openxmlformats.org/officeDocument/2006/relationships/slideLayout" Target="../slideLayouts/slideLayout1428.xml"/><Relationship Id="rId23" Type="http://schemas.openxmlformats.org/officeDocument/2006/relationships/slideLayout" Target="../slideLayouts/slideLayout1192.xml"/><Relationship Id="rId119" Type="http://schemas.openxmlformats.org/officeDocument/2006/relationships/slideLayout" Target="../slideLayouts/slideLayout1288.xml"/><Relationship Id="rId270" Type="http://schemas.openxmlformats.org/officeDocument/2006/relationships/slideLayout" Target="../slideLayouts/slideLayout1439.xml"/><Relationship Id="rId326" Type="http://schemas.openxmlformats.org/officeDocument/2006/relationships/slideLayout" Target="../slideLayouts/slideLayout1495.xml"/><Relationship Id="rId65" Type="http://schemas.openxmlformats.org/officeDocument/2006/relationships/slideLayout" Target="../slideLayouts/slideLayout1234.xml"/><Relationship Id="rId130" Type="http://schemas.openxmlformats.org/officeDocument/2006/relationships/slideLayout" Target="../slideLayouts/slideLayout1299.xml"/><Relationship Id="rId172" Type="http://schemas.openxmlformats.org/officeDocument/2006/relationships/slideLayout" Target="../slideLayouts/slideLayout1341.xml"/><Relationship Id="rId228" Type="http://schemas.openxmlformats.org/officeDocument/2006/relationships/slideLayout" Target="../slideLayouts/slideLayout1397.xml"/><Relationship Id="rId281" Type="http://schemas.openxmlformats.org/officeDocument/2006/relationships/slideLayout" Target="../slideLayouts/slideLayout1450.xml"/><Relationship Id="rId34" Type="http://schemas.openxmlformats.org/officeDocument/2006/relationships/slideLayout" Target="../slideLayouts/slideLayout1203.xml"/><Relationship Id="rId76" Type="http://schemas.openxmlformats.org/officeDocument/2006/relationships/slideLayout" Target="../slideLayouts/slideLayout1245.xml"/><Relationship Id="rId141" Type="http://schemas.openxmlformats.org/officeDocument/2006/relationships/slideLayout" Target="../slideLayouts/slideLayout1310.xml"/><Relationship Id="rId7" Type="http://schemas.openxmlformats.org/officeDocument/2006/relationships/slideLayout" Target="../slideLayouts/slideLayout1176.xml"/><Relationship Id="rId183" Type="http://schemas.openxmlformats.org/officeDocument/2006/relationships/slideLayout" Target="../slideLayouts/slideLayout1352.xml"/><Relationship Id="rId239" Type="http://schemas.openxmlformats.org/officeDocument/2006/relationships/slideLayout" Target="../slideLayouts/slideLayout1408.xml"/><Relationship Id="rId250" Type="http://schemas.openxmlformats.org/officeDocument/2006/relationships/slideLayout" Target="../slideLayouts/slideLayout1419.xml"/><Relationship Id="rId271" Type="http://schemas.openxmlformats.org/officeDocument/2006/relationships/slideLayout" Target="../slideLayouts/slideLayout1440.xml"/><Relationship Id="rId292" Type="http://schemas.openxmlformats.org/officeDocument/2006/relationships/slideLayout" Target="../slideLayouts/slideLayout1461.xml"/><Relationship Id="rId306" Type="http://schemas.openxmlformats.org/officeDocument/2006/relationships/slideLayout" Target="../slideLayouts/slideLayout1475.xml"/><Relationship Id="rId24" Type="http://schemas.openxmlformats.org/officeDocument/2006/relationships/slideLayout" Target="../slideLayouts/slideLayout1193.xml"/><Relationship Id="rId45" Type="http://schemas.openxmlformats.org/officeDocument/2006/relationships/slideLayout" Target="../slideLayouts/slideLayout1214.xml"/><Relationship Id="rId66" Type="http://schemas.openxmlformats.org/officeDocument/2006/relationships/slideLayout" Target="../slideLayouts/slideLayout1235.xml"/><Relationship Id="rId87" Type="http://schemas.openxmlformats.org/officeDocument/2006/relationships/slideLayout" Target="../slideLayouts/slideLayout1256.xml"/><Relationship Id="rId110" Type="http://schemas.openxmlformats.org/officeDocument/2006/relationships/slideLayout" Target="../slideLayouts/slideLayout1279.xml"/><Relationship Id="rId131" Type="http://schemas.openxmlformats.org/officeDocument/2006/relationships/slideLayout" Target="../slideLayouts/slideLayout1300.xml"/><Relationship Id="rId327" Type="http://schemas.openxmlformats.org/officeDocument/2006/relationships/slideLayout" Target="../slideLayouts/slideLayout1496.xml"/><Relationship Id="rId152" Type="http://schemas.openxmlformats.org/officeDocument/2006/relationships/slideLayout" Target="../slideLayouts/slideLayout1321.xml"/><Relationship Id="rId173" Type="http://schemas.openxmlformats.org/officeDocument/2006/relationships/slideLayout" Target="../slideLayouts/slideLayout1342.xml"/><Relationship Id="rId194" Type="http://schemas.openxmlformats.org/officeDocument/2006/relationships/slideLayout" Target="../slideLayouts/slideLayout1363.xml"/><Relationship Id="rId208" Type="http://schemas.openxmlformats.org/officeDocument/2006/relationships/slideLayout" Target="../slideLayouts/slideLayout1377.xml"/><Relationship Id="rId229" Type="http://schemas.openxmlformats.org/officeDocument/2006/relationships/slideLayout" Target="../slideLayouts/slideLayout1398.xml"/><Relationship Id="rId240" Type="http://schemas.openxmlformats.org/officeDocument/2006/relationships/slideLayout" Target="../slideLayouts/slideLayout1409.xml"/><Relationship Id="rId261" Type="http://schemas.openxmlformats.org/officeDocument/2006/relationships/slideLayout" Target="../slideLayouts/slideLayout1430.xml"/><Relationship Id="rId14" Type="http://schemas.openxmlformats.org/officeDocument/2006/relationships/slideLayout" Target="../slideLayouts/slideLayout1183.xml"/><Relationship Id="rId35" Type="http://schemas.openxmlformats.org/officeDocument/2006/relationships/slideLayout" Target="../slideLayouts/slideLayout1204.xml"/><Relationship Id="rId56" Type="http://schemas.openxmlformats.org/officeDocument/2006/relationships/slideLayout" Target="../slideLayouts/slideLayout1225.xml"/><Relationship Id="rId77" Type="http://schemas.openxmlformats.org/officeDocument/2006/relationships/slideLayout" Target="../slideLayouts/slideLayout1246.xml"/><Relationship Id="rId100" Type="http://schemas.openxmlformats.org/officeDocument/2006/relationships/slideLayout" Target="../slideLayouts/slideLayout1269.xml"/><Relationship Id="rId282" Type="http://schemas.openxmlformats.org/officeDocument/2006/relationships/slideLayout" Target="../slideLayouts/slideLayout1451.xml"/><Relationship Id="rId317" Type="http://schemas.openxmlformats.org/officeDocument/2006/relationships/slideLayout" Target="../slideLayouts/slideLayout1486.xml"/><Relationship Id="rId8" Type="http://schemas.openxmlformats.org/officeDocument/2006/relationships/slideLayout" Target="../slideLayouts/slideLayout1177.xml"/><Relationship Id="rId98" Type="http://schemas.openxmlformats.org/officeDocument/2006/relationships/slideLayout" Target="../slideLayouts/slideLayout1267.xml"/><Relationship Id="rId121" Type="http://schemas.openxmlformats.org/officeDocument/2006/relationships/slideLayout" Target="../slideLayouts/slideLayout1290.xml"/><Relationship Id="rId142" Type="http://schemas.openxmlformats.org/officeDocument/2006/relationships/slideLayout" Target="../slideLayouts/slideLayout1311.xml"/><Relationship Id="rId163" Type="http://schemas.openxmlformats.org/officeDocument/2006/relationships/slideLayout" Target="../slideLayouts/slideLayout1332.xml"/><Relationship Id="rId184" Type="http://schemas.openxmlformats.org/officeDocument/2006/relationships/slideLayout" Target="../slideLayouts/slideLayout1353.xml"/><Relationship Id="rId219" Type="http://schemas.openxmlformats.org/officeDocument/2006/relationships/slideLayout" Target="../slideLayouts/slideLayout1388.xml"/><Relationship Id="rId230" Type="http://schemas.openxmlformats.org/officeDocument/2006/relationships/slideLayout" Target="../slideLayouts/slideLayout1399.xml"/><Relationship Id="rId251" Type="http://schemas.openxmlformats.org/officeDocument/2006/relationships/slideLayout" Target="../slideLayouts/slideLayout1420.xml"/><Relationship Id="rId25" Type="http://schemas.openxmlformats.org/officeDocument/2006/relationships/slideLayout" Target="../slideLayouts/slideLayout1194.xml"/><Relationship Id="rId46" Type="http://schemas.openxmlformats.org/officeDocument/2006/relationships/slideLayout" Target="../slideLayouts/slideLayout1215.xml"/><Relationship Id="rId67" Type="http://schemas.openxmlformats.org/officeDocument/2006/relationships/slideLayout" Target="../slideLayouts/slideLayout1236.xml"/><Relationship Id="rId272" Type="http://schemas.openxmlformats.org/officeDocument/2006/relationships/slideLayout" Target="../slideLayouts/slideLayout1441.xml"/><Relationship Id="rId293" Type="http://schemas.openxmlformats.org/officeDocument/2006/relationships/slideLayout" Target="../slideLayouts/slideLayout1462.xml"/><Relationship Id="rId307" Type="http://schemas.openxmlformats.org/officeDocument/2006/relationships/slideLayout" Target="../slideLayouts/slideLayout1476.xml"/><Relationship Id="rId328" Type="http://schemas.openxmlformats.org/officeDocument/2006/relationships/slideLayout" Target="../slideLayouts/slideLayout1497.xml"/><Relationship Id="rId88" Type="http://schemas.openxmlformats.org/officeDocument/2006/relationships/slideLayout" Target="../slideLayouts/slideLayout1257.xml"/><Relationship Id="rId111" Type="http://schemas.openxmlformats.org/officeDocument/2006/relationships/slideLayout" Target="../slideLayouts/slideLayout1280.xml"/><Relationship Id="rId132" Type="http://schemas.openxmlformats.org/officeDocument/2006/relationships/slideLayout" Target="../slideLayouts/slideLayout1301.xml"/><Relationship Id="rId153" Type="http://schemas.openxmlformats.org/officeDocument/2006/relationships/slideLayout" Target="../slideLayouts/slideLayout1322.xml"/><Relationship Id="rId174" Type="http://schemas.openxmlformats.org/officeDocument/2006/relationships/slideLayout" Target="../slideLayouts/slideLayout1343.xml"/><Relationship Id="rId195" Type="http://schemas.openxmlformats.org/officeDocument/2006/relationships/slideLayout" Target="../slideLayouts/slideLayout1364.xml"/><Relationship Id="rId209" Type="http://schemas.openxmlformats.org/officeDocument/2006/relationships/slideLayout" Target="../slideLayouts/slideLayout1378.xml"/><Relationship Id="rId220" Type="http://schemas.openxmlformats.org/officeDocument/2006/relationships/slideLayout" Target="../slideLayouts/slideLayout1389.xml"/><Relationship Id="rId241" Type="http://schemas.openxmlformats.org/officeDocument/2006/relationships/slideLayout" Target="../slideLayouts/slideLayout1410.xml"/><Relationship Id="rId15" Type="http://schemas.openxmlformats.org/officeDocument/2006/relationships/slideLayout" Target="../slideLayouts/slideLayout1184.xml"/><Relationship Id="rId36" Type="http://schemas.openxmlformats.org/officeDocument/2006/relationships/slideLayout" Target="../slideLayouts/slideLayout1205.xml"/><Relationship Id="rId57" Type="http://schemas.openxmlformats.org/officeDocument/2006/relationships/slideLayout" Target="../slideLayouts/slideLayout1226.xml"/><Relationship Id="rId262" Type="http://schemas.openxmlformats.org/officeDocument/2006/relationships/slideLayout" Target="../slideLayouts/slideLayout1431.xml"/><Relationship Id="rId283" Type="http://schemas.openxmlformats.org/officeDocument/2006/relationships/slideLayout" Target="../slideLayouts/slideLayout1452.xml"/><Relationship Id="rId318" Type="http://schemas.openxmlformats.org/officeDocument/2006/relationships/slideLayout" Target="../slideLayouts/slideLayout1487.xml"/><Relationship Id="rId78" Type="http://schemas.openxmlformats.org/officeDocument/2006/relationships/slideLayout" Target="../slideLayouts/slideLayout1247.xml"/><Relationship Id="rId99" Type="http://schemas.openxmlformats.org/officeDocument/2006/relationships/slideLayout" Target="../slideLayouts/slideLayout1268.xml"/><Relationship Id="rId101" Type="http://schemas.openxmlformats.org/officeDocument/2006/relationships/slideLayout" Target="../slideLayouts/slideLayout1270.xml"/><Relationship Id="rId122" Type="http://schemas.openxmlformats.org/officeDocument/2006/relationships/slideLayout" Target="../slideLayouts/slideLayout1291.xml"/><Relationship Id="rId143" Type="http://schemas.openxmlformats.org/officeDocument/2006/relationships/slideLayout" Target="../slideLayouts/slideLayout1312.xml"/><Relationship Id="rId164" Type="http://schemas.openxmlformats.org/officeDocument/2006/relationships/slideLayout" Target="../slideLayouts/slideLayout1333.xml"/><Relationship Id="rId185" Type="http://schemas.openxmlformats.org/officeDocument/2006/relationships/slideLayout" Target="../slideLayouts/slideLayout1354.xml"/><Relationship Id="rId9" Type="http://schemas.openxmlformats.org/officeDocument/2006/relationships/slideLayout" Target="../slideLayouts/slideLayout1178.xml"/><Relationship Id="rId210" Type="http://schemas.openxmlformats.org/officeDocument/2006/relationships/slideLayout" Target="../slideLayouts/slideLayout1379.xml"/><Relationship Id="rId26" Type="http://schemas.openxmlformats.org/officeDocument/2006/relationships/slideLayout" Target="../slideLayouts/slideLayout1195.xml"/><Relationship Id="rId231" Type="http://schemas.openxmlformats.org/officeDocument/2006/relationships/slideLayout" Target="../slideLayouts/slideLayout1400.xml"/><Relationship Id="rId252" Type="http://schemas.openxmlformats.org/officeDocument/2006/relationships/slideLayout" Target="../slideLayouts/slideLayout1421.xml"/><Relationship Id="rId273" Type="http://schemas.openxmlformats.org/officeDocument/2006/relationships/slideLayout" Target="../slideLayouts/slideLayout1442.xml"/><Relationship Id="rId294" Type="http://schemas.openxmlformats.org/officeDocument/2006/relationships/slideLayout" Target="../slideLayouts/slideLayout1463.xml"/><Relationship Id="rId308" Type="http://schemas.openxmlformats.org/officeDocument/2006/relationships/slideLayout" Target="../slideLayouts/slideLayout1477.xml"/><Relationship Id="rId329" Type="http://schemas.openxmlformats.org/officeDocument/2006/relationships/slideLayout" Target="../slideLayouts/slideLayout1498.xml"/><Relationship Id="rId47" Type="http://schemas.openxmlformats.org/officeDocument/2006/relationships/slideLayout" Target="../slideLayouts/slideLayout1216.xml"/><Relationship Id="rId68" Type="http://schemas.openxmlformats.org/officeDocument/2006/relationships/slideLayout" Target="../slideLayouts/slideLayout1237.xml"/><Relationship Id="rId89" Type="http://schemas.openxmlformats.org/officeDocument/2006/relationships/slideLayout" Target="../slideLayouts/slideLayout1258.xml"/><Relationship Id="rId112" Type="http://schemas.openxmlformats.org/officeDocument/2006/relationships/slideLayout" Target="../slideLayouts/slideLayout1281.xml"/><Relationship Id="rId133" Type="http://schemas.openxmlformats.org/officeDocument/2006/relationships/slideLayout" Target="../slideLayouts/slideLayout1302.xml"/><Relationship Id="rId154" Type="http://schemas.openxmlformats.org/officeDocument/2006/relationships/slideLayout" Target="../slideLayouts/slideLayout1323.xml"/><Relationship Id="rId175" Type="http://schemas.openxmlformats.org/officeDocument/2006/relationships/slideLayout" Target="../slideLayouts/slideLayout1344.xml"/><Relationship Id="rId196" Type="http://schemas.openxmlformats.org/officeDocument/2006/relationships/slideLayout" Target="../slideLayouts/slideLayout1365.xml"/><Relationship Id="rId200" Type="http://schemas.openxmlformats.org/officeDocument/2006/relationships/slideLayout" Target="../slideLayouts/slideLayout1369.xml"/><Relationship Id="rId16" Type="http://schemas.openxmlformats.org/officeDocument/2006/relationships/slideLayout" Target="../slideLayouts/slideLayout1185.xml"/><Relationship Id="rId221" Type="http://schemas.openxmlformats.org/officeDocument/2006/relationships/slideLayout" Target="../slideLayouts/slideLayout1390.xml"/><Relationship Id="rId242" Type="http://schemas.openxmlformats.org/officeDocument/2006/relationships/slideLayout" Target="../slideLayouts/slideLayout1411.xml"/><Relationship Id="rId263" Type="http://schemas.openxmlformats.org/officeDocument/2006/relationships/slideLayout" Target="../slideLayouts/slideLayout1432.xml"/><Relationship Id="rId284" Type="http://schemas.openxmlformats.org/officeDocument/2006/relationships/slideLayout" Target="../slideLayouts/slideLayout1453.xml"/><Relationship Id="rId319" Type="http://schemas.openxmlformats.org/officeDocument/2006/relationships/slideLayout" Target="../slideLayouts/slideLayout1488.xml"/><Relationship Id="rId37" Type="http://schemas.openxmlformats.org/officeDocument/2006/relationships/slideLayout" Target="../slideLayouts/slideLayout1206.xml"/><Relationship Id="rId58" Type="http://schemas.openxmlformats.org/officeDocument/2006/relationships/slideLayout" Target="../slideLayouts/slideLayout1227.xml"/><Relationship Id="rId79" Type="http://schemas.openxmlformats.org/officeDocument/2006/relationships/slideLayout" Target="../slideLayouts/slideLayout1248.xml"/><Relationship Id="rId102" Type="http://schemas.openxmlformats.org/officeDocument/2006/relationships/slideLayout" Target="../slideLayouts/slideLayout1271.xml"/><Relationship Id="rId123" Type="http://schemas.openxmlformats.org/officeDocument/2006/relationships/slideLayout" Target="../slideLayouts/slideLayout1292.xml"/><Relationship Id="rId144" Type="http://schemas.openxmlformats.org/officeDocument/2006/relationships/slideLayout" Target="../slideLayouts/slideLayout1313.xml"/><Relationship Id="rId330" Type="http://schemas.openxmlformats.org/officeDocument/2006/relationships/slideLayout" Target="../slideLayouts/slideLayout1499.xml"/><Relationship Id="rId90" Type="http://schemas.openxmlformats.org/officeDocument/2006/relationships/slideLayout" Target="../slideLayouts/slideLayout1259.xml"/><Relationship Id="rId165" Type="http://schemas.openxmlformats.org/officeDocument/2006/relationships/slideLayout" Target="../slideLayouts/slideLayout1334.xml"/><Relationship Id="rId186" Type="http://schemas.openxmlformats.org/officeDocument/2006/relationships/slideLayout" Target="../slideLayouts/slideLayout1355.xml"/><Relationship Id="rId211" Type="http://schemas.openxmlformats.org/officeDocument/2006/relationships/slideLayout" Target="../slideLayouts/slideLayout1380.xml"/><Relationship Id="rId232" Type="http://schemas.openxmlformats.org/officeDocument/2006/relationships/slideLayout" Target="../slideLayouts/slideLayout1401.xml"/><Relationship Id="rId253" Type="http://schemas.openxmlformats.org/officeDocument/2006/relationships/slideLayout" Target="../slideLayouts/slideLayout1422.xml"/><Relationship Id="rId274" Type="http://schemas.openxmlformats.org/officeDocument/2006/relationships/slideLayout" Target="../slideLayouts/slideLayout1443.xml"/><Relationship Id="rId295" Type="http://schemas.openxmlformats.org/officeDocument/2006/relationships/slideLayout" Target="../slideLayouts/slideLayout1464.xml"/><Relationship Id="rId309" Type="http://schemas.openxmlformats.org/officeDocument/2006/relationships/slideLayout" Target="../slideLayouts/slideLayout1478.xml"/><Relationship Id="rId27" Type="http://schemas.openxmlformats.org/officeDocument/2006/relationships/slideLayout" Target="../slideLayouts/slideLayout1196.xml"/><Relationship Id="rId48" Type="http://schemas.openxmlformats.org/officeDocument/2006/relationships/slideLayout" Target="../slideLayouts/slideLayout1217.xml"/><Relationship Id="rId69" Type="http://schemas.openxmlformats.org/officeDocument/2006/relationships/slideLayout" Target="../slideLayouts/slideLayout1238.xml"/><Relationship Id="rId113" Type="http://schemas.openxmlformats.org/officeDocument/2006/relationships/slideLayout" Target="../slideLayouts/slideLayout1282.xml"/><Relationship Id="rId134" Type="http://schemas.openxmlformats.org/officeDocument/2006/relationships/slideLayout" Target="../slideLayouts/slideLayout1303.xml"/><Relationship Id="rId320" Type="http://schemas.openxmlformats.org/officeDocument/2006/relationships/slideLayout" Target="../slideLayouts/slideLayout1489.xml"/><Relationship Id="rId80" Type="http://schemas.openxmlformats.org/officeDocument/2006/relationships/slideLayout" Target="../slideLayouts/slideLayout1249.xml"/><Relationship Id="rId155" Type="http://schemas.openxmlformats.org/officeDocument/2006/relationships/slideLayout" Target="../slideLayouts/slideLayout1324.xml"/><Relationship Id="rId176" Type="http://schemas.openxmlformats.org/officeDocument/2006/relationships/slideLayout" Target="../slideLayouts/slideLayout1345.xml"/><Relationship Id="rId197" Type="http://schemas.openxmlformats.org/officeDocument/2006/relationships/slideLayout" Target="../slideLayouts/slideLayout1366.xml"/><Relationship Id="rId201" Type="http://schemas.openxmlformats.org/officeDocument/2006/relationships/slideLayout" Target="../slideLayouts/slideLayout1370.xml"/><Relationship Id="rId222" Type="http://schemas.openxmlformats.org/officeDocument/2006/relationships/slideLayout" Target="../slideLayouts/slideLayout1391.xml"/><Relationship Id="rId243" Type="http://schemas.openxmlformats.org/officeDocument/2006/relationships/slideLayout" Target="../slideLayouts/slideLayout1412.xml"/><Relationship Id="rId264" Type="http://schemas.openxmlformats.org/officeDocument/2006/relationships/slideLayout" Target="../slideLayouts/slideLayout1433.xml"/><Relationship Id="rId285" Type="http://schemas.openxmlformats.org/officeDocument/2006/relationships/slideLayout" Target="../slideLayouts/slideLayout1454.xml"/><Relationship Id="rId17" Type="http://schemas.openxmlformats.org/officeDocument/2006/relationships/slideLayout" Target="../slideLayouts/slideLayout1186.xml"/><Relationship Id="rId38" Type="http://schemas.openxmlformats.org/officeDocument/2006/relationships/slideLayout" Target="../slideLayouts/slideLayout1207.xml"/><Relationship Id="rId59" Type="http://schemas.openxmlformats.org/officeDocument/2006/relationships/slideLayout" Target="../slideLayouts/slideLayout1228.xml"/><Relationship Id="rId103" Type="http://schemas.openxmlformats.org/officeDocument/2006/relationships/slideLayout" Target="../slideLayouts/slideLayout1272.xml"/><Relationship Id="rId124" Type="http://schemas.openxmlformats.org/officeDocument/2006/relationships/slideLayout" Target="../slideLayouts/slideLayout1293.xml"/><Relationship Id="rId310" Type="http://schemas.openxmlformats.org/officeDocument/2006/relationships/slideLayout" Target="../slideLayouts/slideLayout1479.xml"/><Relationship Id="rId70" Type="http://schemas.openxmlformats.org/officeDocument/2006/relationships/slideLayout" Target="../slideLayouts/slideLayout1239.xml"/><Relationship Id="rId91" Type="http://schemas.openxmlformats.org/officeDocument/2006/relationships/slideLayout" Target="../slideLayouts/slideLayout1260.xml"/><Relationship Id="rId145" Type="http://schemas.openxmlformats.org/officeDocument/2006/relationships/slideLayout" Target="../slideLayouts/slideLayout1314.xml"/><Relationship Id="rId166" Type="http://schemas.openxmlformats.org/officeDocument/2006/relationships/slideLayout" Target="../slideLayouts/slideLayout1335.xml"/><Relationship Id="rId187" Type="http://schemas.openxmlformats.org/officeDocument/2006/relationships/slideLayout" Target="../slideLayouts/slideLayout1356.xml"/><Relationship Id="rId331" Type="http://schemas.openxmlformats.org/officeDocument/2006/relationships/slideLayout" Target="../slideLayouts/slideLayout1500.xml"/><Relationship Id="rId1" Type="http://schemas.openxmlformats.org/officeDocument/2006/relationships/slideLayout" Target="../slideLayouts/slideLayout1170.xml"/><Relationship Id="rId212" Type="http://schemas.openxmlformats.org/officeDocument/2006/relationships/slideLayout" Target="../slideLayouts/slideLayout1381.xml"/><Relationship Id="rId233" Type="http://schemas.openxmlformats.org/officeDocument/2006/relationships/slideLayout" Target="../slideLayouts/slideLayout1402.xml"/><Relationship Id="rId254" Type="http://schemas.openxmlformats.org/officeDocument/2006/relationships/slideLayout" Target="../slideLayouts/slideLayout1423.xml"/><Relationship Id="rId28" Type="http://schemas.openxmlformats.org/officeDocument/2006/relationships/slideLayout" Target="../slideLayouts/slideLayout1197.xml"/><Relationship Id="rId49" Type="http://schemas.openxmlformats.org/officeDocument/2006/relationships/slideLayout" Target="../slideLayouts/slideLayout1218.xml"/><Relationship Id="rId114" Type="http://schemas.openxmlformats.org/officeDocument/2006/relationships/slideLayout" Target="../slideLayouts/slideLayout1283.xml"/><Relationship Id="rId275" Type="http://schemas.openxmlformats.org/officeDocument/2006/relationships/slideLayout" Target="../slideLayouts/slideLayout1444.xml"/><Relationship Id="rId296" Type="http://schemas.openxmlformats.org/officeDocument/2006/relationships/slideLayout" Target="../slideLayouts/slideLayout1465.xml"/><Relationship Id="rId300" Type="http://schemas.openxmlformats.org/officeDocument/2006/relationships/slideLayout" Target="../slideLayouts/slideLayout1469.xml"/><Relationship Id="rId60" Type="http://schemas.openxmlformats.org/officeDocument/2006/relationships/slideLayout" Target="../slideLayouts/slideLayout1229.xml"/><Relationship Id="rId81" Type="http://schemas.openxmlformats.org/officeDocument/2006/relationships/slideLayout" Target="../slideLayouts/slideLayout1250.xml"/><Relationship Id="rId135" Type="http://schemas.openxmlformats.org/officeDocument/2006/relationships/slideLayout" Target="../slideLayouts/slideLayout1304.xml"/><Relationship Id="rId156" Type="http://schemas.openxmlformats.org/officeDocument/2006/relationships/slideLayout" Target="../slideLayouts/slideLayout1325.xml"/><Relationship Id="rId177" Type="http://schemas.openxmlformats.org/officeDocument/2006/relationships/slideLayout" Target="../slideLayouts/slideLayout1346.xml"/><Relationship Id="rId198" Type="http://schemas.openxmlformats.org/officeDocument/2006/relationships/slideLayout" Target="../slideLayouts/slideLayout1367.xml"/><Relationship Id="rId321" Type="http://schemas.openxmlformats.org/officeDocument/2006/relationships/slideLayout" Target="../slideLayouts/slideLayout1490.xml"/><Relationship Id="rId202" Type="http://schemas.openxmlformats.org/officeDocument/2006/relationships/slideLayout" Target="../slideLayouts/slideLayout1371.xml"/><Relationship Id="rId223" Type="http://schemas.openxmlformats.org/officeDocument/2006/relationships/slideLayout" Target="../slideLayouts/slideLayout1392.xml"/><Relationship Id="rId244" Type="http://schemas.openxmlformats.org/officeDocument/2006/relationships/slideLayout" Target="../slideLayouts/slideLayout1413.xml"/><Relationship Id="rId18" Type="http://schemas.openxmlformats.org/officeDocument/2006/relationships/slideLayout" Target="../slideLayouts/slideLayout1187.xml"/><Relationship Id="rId39" Type="http://schemas.openxmlformats.org/officeDocument/2006/relationships/slideLayout" Target="../slideLayouts/slideLayout1208.xml"/><Relationship Id="rId265" Type="http://schemas.openxmlformats.org/officeDocument/2006/relationships/slideLayout" Target="../slideLayouts/slideLayout1434.xml"/><Relationship Id="rId286" Type="http://schemas.openxmlformats.org/officeDocument/2006/relationships/slideLayout" Target="../slideLayouts/slideLayout1455.xml"/><Relationship Id="rId50" Type="http://schemas.openxmlformats.org/officeDocument/2006/relationships/slideLayout" Target="../slideLayouts/slideLayout1219.xml"/><Relationship Id="rId104" Type="http://schemas.openxmlformats.org/officeDocument/2006/relationships/slideLayout" Target="../slideLayouts/slideLayout1273.xml"/><Relationship Id="rId125" Type="http://schemas.openxmlformats.org/officeDocument/2006/relationships/slideLayout" Target="../slideLayouts/slideLayout1294.xml"/><Relationship Id="rId146" Type="http://schemas.openxmlformats.org/officeDocument/2006/relationships/slideLayout" Target="../slideLayouts/slideLayout1315.xml"/><Relationship Id="rId167" Type="http://schemas.openxmlformats.org/officeDocument/2006/relationships/slideLayout" Target="../slideLayouts/slideLayout1336.xml"/><Relationship Id="rId188" Type="http://schemas.openxmlformats.org/officeDocument/2006/relationships/slideLayout" Target="../slideLayouts/slideLayout1357.xml"/><Relationship Id="rId311" Type="http://schemas.openxmlformats.org/officeDocument/2006/relationships/slideLayout" Target="../slideLayouts/slideLayout1480.xml"/><Relationship Id="rId332" Type="http://schemas.openxmlformats.org/officeDocument/2006/relationships/theme" Target="../theme/theme6.xml"/><Relationship Id="rId71" Type="http://schemas.openxmlformats.org/officeDocument/2006/relationships/slideLayout" Target="../slideLayouts/slideLayout1240.xml"/><Relationship Id="rId92" Type="http://schemas.openxmlformats.org/officeDocument/2006/relationships/slideLayout" Target="../slideLayouts/slideLayout1261.xml"/><Relationship Id="rId213" Type="http://schemas.openxmlformats.org/officeDocument/2006/relationships/slideLayout" Target="../slideLayouts/slideLayout1382.xml"/><Relationship Id="rId234" Type="http://schemas.openxmlformats.org/officeDocument/2006/relationships/slideLayout" Target="../slideLayouts/slideLayout1403.xml"/><Relationship Id="rId2" Type="http://schemas.openxmlformats.org/officeDocument/2006/relationships/slideLayout" Target="../slideLayouts/slideLayout1171.xml"/><Relationship Id="rId29" Type="http://schemas.openxmlformats.org/officeDocument/2006/relationships/slideLayout" Target="../slideLayouts/slideLayout1198.xml"/><Relationship Id="rId255" Type="http://schemas.openxmlformats.org/officeDocument/2006/relationships/slideLayout" Target="../slideLayouts/slideLayout1424.xml"/><Relationship Id="rId276" Type="http://schemas.openxmlformats.org/officeDocument/2006/relationships/slideLayout" Target="../slideLayouts/slideLayout1445.xml"/><Relationship Id="rId297" Type="http://schemas.openxmlformats.org/officeDocument/2006/relationships/slideLayout" Target="../slideLayouts/slideLayout1466.xml"/><Relationship Id="rId40" Type="http://schemas.openxmlformats.org/officeDocument/2006/relationships/slideLayout" Target="../slideLayouts/slideLayout1209.xml"/><Relationship Id="rId115" Type="http://schemas.openxmlformats.org/officeDocument/2006/relationships/slideLayout" Target="../slideLayouts/slideLayout1284.xml"/><Relationship Id="rId136" Type="http://schemas.openxmlformats.org/officeDocument/2006/relationships/slideLayout" Target="../slideLayouts/slideLayout1305.xml"/><Relationship Id="rId157" Type="http://schemas.openxmlformats.org/officeDocument/2006/relationships/slideLayout" Target="../slideLayouts/slideLayout1326.xml"/><Relationship Id="rId178" Type="http://schemas.openxmlformats.org/officeDocument/2006/relationships/slideLayout" Target="../slideLayouts/slideLayout1347.xml"/><Relationship Id="rId301" Type="http://schemas.openxmlformats.org/officeDocument/2006/relationships/slideLayout" Target="../slideLayouts/slideLayout1470.xml"/><Relationship Id="rId322" Type="http://schemas.openxmlformats.org/officeDocument/2006/relationships/slideLayout" Target="../slideLayouts/slideLayout1491.xml"/><Relationship Id="rId61" Type="http://schemas.openxmlformats.org/officeDocument/2006/relationships/slideLayout" Target="../slideLayouts/slideLayout1230.xml"/><Relationship Id="rId82" Type="http://schemas.openxmlformats.org/officeDocument/2006/relationships/slideLayout" Target="../slideLayouts/slideLayout1251.xml"/><Relationship Id="rId199" Type="http://schemas.openxmlformats.org/officeDocument/2006/relationships/slideLayout" Target="../slideLayouts/slideLayout1368.xml"/><Relationship Id="rId203" Type="http://schemas.openxmlformats.org/officeDocument/2006/relationships/slideLayout" Target="../slideLayouts/slideLayout1372.xml"/><Relationship Id="rId19" Type="http://schemas.openxmlformats.org/officeDocument/2006/relationships/slideLayout" Target="../slideLayouts/slideLayout1188.xml"/><Relationship Id="rId224" Type="http://schemas.openxmlformats.org/officeDocument/2006/relationships/slideLayout" Target="../slideLayouts/slideLayout1393.xml"/><Relationship Id="rId245" Type="http://schemas.openxmlformats.org/officeDocument/2006/relationships/slideLayout" Target="../slideLayouts/slideLayout1414.xml"/><Relationship Id="rId266" Type="http://schemas.openxmlformats.org/officeDocument/2006/relationships/slideLayout" Target="../slideLayouts/slideLayout1435.xml"/><Relationship Id="rId287" Type="http://schemas.openxmlformats.org/officeDocument/2006/relationships/slideLayout" Target="../slideLayouts/slideLayout1456.xml"/><Relationship Id="rId30" Type="http://schemas.openxmlformats.org/officeDocument/2006/relationships/slideLayout" Target="../slideLayouts/slideLayout1199.xml"/><Relationship Id="rId105" Type="http://schemas.openxmlformats.org/officeDocument/2006/relationships/slideLayout" Target="../slideLayouts/slideLayout1274.xml"/><Relationship Id="rId126" Type="http://schemas.openxmlformats.org/officeDocument/2006/relationships/slideLayout" Target="../slideLayouts/slideLayout1295.xml"/><Relationship Id="rId147" Type="http://schemas.openxmlformats.org/officeDocument/2006/relationships/slideLayout" Target="../slideLayouts/slideLayout1316.xml"/><Relationship Id="rId168" Type="http://schemas.openxmlformats.org/officeDocument/2006/relationships/slideLayout" Target="../slideLayouts/slideLayout1337.xml"/><Relationship Id="rId312" Type="http://schemas.openxmlformats.org/officeDocument/2006/relationships/slideLayout" Target="../slideLayouts/slideLayout1481.xml"/><Relationship Id="rId51" Type="http://schemas.openxmlformats.org/officeDocument/2006/relationships/slideLayout" Target="../slideLayouts/slideLayout1220.xml"/><Relationship Id="rId72" Type="http://schemas.openxmlformats.org/officeDocument/2006/relationships/slideLayout" Target="../slideLayouts/slideLayout1241.xml"/><Relationship Id="rId93" Type="http://schemas.openxmlformats.org/officeDocument/2006/relationships/slideLayout" Target="../slideLayouts/slideLayout1262.xml"/><Relationship Id="rId189" Type="http://schemas.openxmlformats.org/officeDocument/2006/relationships/slideLayout" Target="../slideLayouts/slideLayout1358.xml"/><Relationship Id="rId3" Type="http://schemas.openxmlformats.org/officeDocument/2006/relationships/slideLayout" Target="../slideLayouts/slideLayout1172.xml"/><Relationship Id="rId214" Type="http://schemas.openxmlformats.org/officeDocument/2006/relationships/slideLayout" Target="../slideLayouts/slideLayout1383.xml"/><Relationship Id="rId235" Type="http://schemas.openxmlformats.org/officeDocument/2006/relationships/slideLayout" Target="../slideLayouts/slideLayout1404.xml"/><Relationship Id="rId256" Type="http://schemas.openxmlformats.org/officeDocument/2006/relationships/slideLayout" Target="../slideLayouts/slideLayout1425.xml"/><Relationship Id="rId277" Type="http://schemas.openxmlformats.org/officeDocument/2006/relationships/slideLayout" Target="../slideLayouts/slideLayout1446.xml"/><Relationship Id="rId298" Type="http://schemas.openxmlformats.org/officeDocument/2006/relationships/slideLayout" Target="../slideLayouts/slideLayout1467.xml"/><Relationship Id="rId116" Type="http://schemas.openxmlformats.org/officeDocument/2006/relationships/slideLayout" Target="../slideLayouts/slideLayout1285.xml"/><Relationship Id="rId137" Type="http://schemas.openxmlformats.org/officeDocument/2006/relationships/slideLayout" Target="../slideLayouts/slideLayout1306.xml"/><Relationship Id="rId158" Type="http://schemas.openxmlformats.org/officeDocument/2006/relationships/slideLayout" Target="../slideLayouts/slideLayout1327.xml"/><Relationship Id="rId302" Type="http://schemas.openxmlformats.org/officeDocument/2006/relationships/slideLayout" Target="../slideLayouts/slideLayout1471.xml"/><Relationship Id="rId323" Type="http://schemas.openxmlformats.org/officeDocument/2006/relationships/slideLayout" Target="../slideLayouts/slideLayout1492.xml"/><Relationship Id="rId20" Type="http://schemas.openxmlformats.org/officeDocument/2006/relationships/slideLayout" Target="../slideLayouts/slideLayout1189.xml"/><Relationship Id="rId41" Type="http://schemas.openxmlformats.org/officeDocument/2006/relationships/slideLayout" Target="../slideLayouts/slideLayout1210.xml"/><Relationship Id="rId62" Type="http://schemas.openxmlformats.org/officeDocument/2006/relationships/slideLayout" Target="../slideLayouts/slideLayout1231.xml"/><Relationship Id="rId83" Type="http://schemas.openxmlformats.org/officeDocument/2006/relationships/slideLayout" Target="../slideLayouts/slideLayout1252.xml"/><Relationship Id="rId179" Type="http://schemas.openxmlformats.org/officeDocument/2006/relationships/slideLayout" Target="../slideLayouts/slideLayout1348.xml"/><Relationship Id="rId190" Type="http://schemas.openxmlformats.org/officeDocument/2006/relationships/slideLayout" Target="../slideLayouts/slideLayout1359.xml"/><Relationship Id="rId204" Type="http://schemas.openxmlformats.org/officeDocument/2006/relationships/slideLayout" Target="../slideLayouts/slideLayout1373.xml"/><Relationship Id="rId225" Type="http://schemas.openxmlformats.org/officeDocument/2006/relationships/slideLayout" Target="../slideLayouts/slideLayout1394.xml"/><Relationship Id="rId246" Type="http://schemas.openxmlformats.org/officeDocument/2006/relationships/slideLayout" Target="../slideLayouts/slideLayout1415.xml"/><Relationship Id="rId267" Type="http://schemas.openxmlformats.org/officeDocument/2006/relationships/slideLayout" Target="../slideLayouts/slideLayout1436.xml"/><Relationship Id="rId288" Type="http://schemas.openxmlformats.org/officeDocument/2006/relationships/slideLayout" Target="../slideLayouts/slideLayout1457.xml"/><Relationship Id="rId106" Type="http://schemas.openxmlformats.org/officeDocument/2006/relationships/slideLayout" Target="../slideLayouts/slideLayout1275.xml"/><Relationship Id="rId127" Type="http://schemas.openxmlformats.org/officeDocument/2006/relationships/slideLayout" Target="../slideLayouts/slideLayout1296.xml"/><Relationship Id="rId313" Type="http://schemas.openxmlformats.org/officeDocument/2006/relationships/slideLayout" Target="../slideLayouts/slideLayout1482.xml"/><Relationship Id="rId10" Type="http://schemas.openxmlformats.org/officeDocument/2006/relationships/slideLayout" Target="../slideLayouts/slideLayout1179.xml"/><Relationship Id="rId31" Type="http://schemas.openxmlformats.org/officeDocument/2006/relationships/slideLayout" Target="../slideLayouts/slideLayout1200.xml"/><Relationship Id="rId52" Type="http://schemas.openxmlformats.org/officeDocument/2006/relationships/slideLayout" Target="../slideLayouts/slideLayout1221.xml"/><Relationship Id="rId73" Type="http://schemas.openxmlformats.org/officeDocument/2006/relationships/slideLayout" Target="../slideLayouts/slideLayout1242.xml"/><Relationship Id="rId94" Type="http://schemas.openxmlformats.org/officeDocument/2006/relationships/slideLayout" Target="../slideLayouts/slideLayout1263.xml"/><Relationship Id="rId148" Type="http://schemas.openxmlformats.org/officeDocument/2006/relationships/slideLayout" Target="../slideLayouts/slideLayout1317.xml"/><Relationship Id="rId169" Type="http://schemas.openxmlformats.org/officeDocument/2006/relationships/slideLayout" Target="../slideLayouts/slideLayout1338.xml"/><Relationship Id="rId4" Type="http://schemas.openxmlformats.org/officeDocument/2006/relationships/slideLayout" Target="../slideLayouts/slideLayout1173.xml"/><Relationship Id="rId180" Type="http://schemas.openxmlformats.org/officeDocument/2006/relationships/slideLayout" Target="../slideLayouts/slideLayout1349.xml"/><Relationship Id="rId215" Type="http://schemas.openxmlformats.org/officeDocument/2006/relationships/slideLayout" Target="../slideLayouts/slideLayout1384.xml"/><Relationship Id="rId236" Type="http://schemas.openxmlformats.org/officeDocument/2006/relationships/slideLayout" Target="../slideLayouts/slideLayout1405.xml"/><Relationship Id="rId257" Type="http://schemas.openxmlformats.org/officeDocument/2006/relationships/slideLayout" Target="../slideLayouts/slideLayout1426.xml"/><Relationship Id="rId278" Type="http://schemas.openxmlformats.org/officeDocument/2006/relationships/slideLayout" Target="../slideLayouts/slideLayout1447.xml"/><Relationship Id="rId303" Type="http://schemas.openxmlformats.org/officeDocument/2006/relationships/slideLayout" Target="../slideLayouts/slideLayout1472.xml"/><Relationship Id="rId42" Type="http://schemas.openxmlformats.org/officeDocument/2006/relationships/slideLayout" Target="../slideLayouts/slideLayout1211.xml"/><Relationship Id="rId84" Type="http://schemas.openxmlformats.org/officeDocument/2006/relationships/slideLayout" Target="../slideLayouts/slideLayout1253.xml"/><Relationship Id="rId138" Type="http://schemas.openxmlformats.org/officeDocument/2006/relationships/slideLayout" Target="../slideLayouts/slideLayout1307.xml"/><Relationship Id="rId191" Type="http://schemas.openxmlformats.org/officeDocument/2006/relationships/slideLayout" Target="../slideLayouts/slideLayout1360.xml"/><Relationship Id="rId205" Type="http://schemas.openxmlformats.org/officeDocument/2006/relationships/slideLayout" Target="../slideLayouts/slideLayout1374.xml"/><Relationship Id="rId247" Type="http://schemas.openxmlformats.org/officeDocument/2006/relationships/slideLayout" Target="../slideLayouts/slideLayout1416.xml"/><Relationship Id="rId107" Type="http://schemas.openxmlformats.org/officeDocument/2006/relationships/slideLayout" Target="../slideLayouts/slideLayout1276.xml"/><Relationship Id="rId289" Type="http://schemas.openxmlformats.org/officeDocument/2006/relationships/slideLayout" Target="../slideLayouts/slideLayout1458.xml"/><Relationship Id="rId11" Type="http://schemas.openxmlformats.org/officeDocument/2006/relationships/slideLayout" Target="../slideLayouts/slideLayout1180.xml"/><Relationship Id="rId53" Type="http://schemas.openxmlformats.org/officeDocument/2006/relationships/slideLayout" Target="../slideLayouts/slideLayout1222.xml"/><Relationship Id="rId149" Type="http://schemas.openxmlformats.org/officeDocument/2006/relationships/slideLayout" Target="../slideLayouts/slideLayout1318.xml"/><Relationship Id="rId314" Type="http://schemas.openxmlformats.org/officeDocument/2006/relationships/slideLayout" Target="../slideLayouts/slideLayout1483.xml"/><Relationship Id="rId95" Type="http://schemas.openxmlformats.org/officeDocument/2006/relationships/slideLayout" Target="../slideLayouts/slideLayout1264.xml"/><Relationship Id="rId160" Type="http://schemas.openxmlformats.org/officeDocument/2006/relationships/slideLayout" Target="../slideLayouts/slideLayout1329.xml"/><Relationship Id="rId216" Type="http://schemas.openxmlformats.org/officeDocument/2006/relationships/slideLayout" Target="../slideLayouts/slideLayout1385.xml"/><Relationship Id="rId258" Type="http://schemas.openxmlformats.org/officeDocument/2006/relationships/slideLayout" Target="../slideLayouts/slideLayout1427.xml"/><Relationship Id="rId22" Type="http://schemas.openxmlformats.org/officeDocument/2006/relationships/slideLayout" Target="../slideLayouts/slideLayout1191.xml"/><Relationship Id="rId64" Type="http://schemas.openxmlformats.org/officeDocument/2006/relationships/slideLayout" Target="../slideLayouts/slideLayout1233.xml"/><Relationship Id="rId118" Type="http://schemas.openxmlformats.org/officeDocument/2006/relationships/slideLayout" Target="../slideLayouts/slideLayout1287.xml"/><Relationship Id="rId325" Type="http://schemas.openxmlformats.org/officeDocument/2006/relationships/slideLayout" Target="../slideLayouts/slideLayout1494.xml"/><Relationship Id="rId171" Type="http://schemas.openxmlformats.org/officeDocument/2006/relationships/slideLayout" Target="../slideLayouts/slideLayout1340.xml"/><Relationship Id="rId227" Type="http://schemas.openxmlformats.org/officeDocument/2006/relationships/slideLayout" Target="../slideLayouts/slideLayout1396.xml"/><Relationship Id="rId269" Type="http://schemas.openxmlformats.org/officeDocument/2006/relationships/slideLayout" Target="../slideLayouts/slideLayout1438.xml"/><Relationship Id="rId33" Type="http://schemas.openxmlformats.org/officeDocument/2006/relationships/slideLayout" Target="../slideLayouts/slideLayout1202.xml"/><Relationship Id="rId129" Type="http://schemas.openxmlformats.org/officeDocument/2006/relationships/slideLayout" Target="../slideLayouts/slideLayout1298.xml"/><Relationship Id="rId280" Type="http://schemas.openxmlformats.org/officeDocument/2006/relationships/slideLayout" Target="../slideLayouts/slideLayout1449.xml"/><Relationship Id="rId75" Type="http://schemas.openxmlformats.org/officeDocument/2006/relationships/slideLayout" Target="../slideLayouts/slideLayout1244.xml"/><Relationship Id="rId140" Type="http://schemas.openxmlformats.org/officeDocument/2006/relationships/slideLayout" Target="../slideLayouts/slideLayout1309.xml"/><Relationship Id="rId182" Type="http://schemas.openxmlformats.org/officeDocument/2006/relationships/slideLayout" Target="../slideLayouts/slideLayout1351.xml"/><Relationship Id="rId6" Type="http://schemas.openxmlformats.org/officeDocument/2006/relationships/slideLayout" Target="../slideLayouts/slideLayout1175.xml"/><Relationship Id="rId238" Type="http://schemas.openxmlformats.org/officeDocument/2006/relationships/slideLayout" Target="../slideLayouts/slideLayout1407.xml"/><Relationship Id="rId291" Type="http://schemas.openxmlformats.org/officeDocument/2006/relationships/slideLayout" Target="../slideLayouts/slideLayout1460.xml"/><Relationship Id="rId305" Type="http://schemas.openxmlformats.org/officeDocument/2006/relationships/slideLayout" Target="../slideLayouts/slideLayout1474.xml"/><Relationship Id="rId44" Type="http://schemas.openxmlformats.org/officeDocument/2006/relationships/slideLayout" Target="../slideLayouts/slideLayout1213.xml"/><Relationship Id="rId86" Type="http://schemas.openxmlformats.org/officeDocument/2006/relationships/slideLayout" Target="../slideLayouts/slideLayout1255.xml"/><Relationship Id="rId151" Type="http://schemas.openxmlformats.org/officeDocument/2006/relationships/slideLayout" Target="../slideLayouts/slideLayout1320.xml"/><Relationship Id="rId193" Type="http://schemas.openxmlformats.org/officeDocument/2006/relationships/slideLayout" Target="../slideLayouts/slideLayout1362.xml"/><Relationship Id="rId207" Type="http://schemas.openxmlformats.org/officeDocument/2006/relationships/slideLayout" Target="../slideLayouts/slideLayout1376.xml"/><Relationship Id="rId249" Type="http://schemas.openxmlformats.org/officeDocument/2006/relationships/slideLayout" Target="../slideLayouts/slideLayout1418.xml"/><Relationship Id="rId13" Type="http://schemas.openxmlformats.org/officeDocument/2006/relationships/slideLayout" Target="../slideLayouts/slideLayout1182.xml"/><Relationship Id="rId109" Type="http://schemas.openxmlformats.org/officeDocument/2006/relationships/slideLayout" Target="../slideLayouts/slideLayout1278.xml"/><Relationship Id="rId260" Type="http://schemas.openxmlformats.org/officeDocument/2006/relationships/slideLayout" Target="../slideLayouts/slideLayout1429.xml"/><Relationship Id="rId316" Type="http://schemas.openxmlformats.org/officeDocument/2006/relationships/slideLayout" Target="../slideLayouts/slideLayout1485.xml"/><Relationship Id="rId55" Type="http://schemas.openxmlformats.org/officeDocument/2006/relationships/slideLayout" Target="../slideLayouts/slideLayout1224.xml"/><Relationship Id="rId97" Type="http://schemas.openxmlformats.org/officeDocument/2006/relationships/slideLayout" Target="../slideLayouts/slideLayout1266.xml"/><Relationship Id="rId120" Type="http://schemas.openxmlformats.org/officeDocument/2006/relationships/slideLayout" Target="../slideLayouts/slideLayout1289.xml"/><Relationship Id="rId162" Type="http://schemas.openxmlformats.org/officeDocument/2006/relationships/slideLayout" Target="../slideLayouts/slideLayout1331.xml"/><Relationship Id="rId218" Type="http://schemas.openxmlformats.org/officeDocument/2006/relationships/slideLayout" Target="../slideLayouts/slideLayout138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8.xml"/><Relationship Id="rId13" Type="http://schemas.openxmlformats.org/officeDocument/2006/relationships/slideLayout" Target="../slideLayouts/slideLayout1513.xml"/><Relationship Id="rId3" Type="http://schemas.openxmlformats.org/officeDocument/2006/relationships/slideLayout" Target="../slideLayouts/slideLayout1503.xml"/><Relationship Id="rId7" Type="http://schemas.openxmlformats.org/officeDocument/2006/relationships/slideLayout" Target="../slideLayouts/slideLayout1507.xml"/><Relationship Id="rId12" Type="http://schemas.openxmlformats.org/officeDocument/2006/relationships/slideLayout" Target="../slideLayouts/slideLayout1512.xml"/><Relationship Id="rId2" Type="http://schemas.openxmlformats.org/officeDocument/2006/relationships/slideLayout" Target="../slideLayouts/slideLayout1502.xml"/><Relationship Id="rId1" Type="http://schemas.openxmlformats.org/officeDocument/2006/relationships/slideLayout" Target="../slideLayouts/slideLayout1501.xml"/><Relationship Id="rId6" Type="http://schemas.openxmlformats.org/officeDocument/2006/relationships/slideLayout" Target="../slideLayouts/slideLayout1506.xml"/><Relationship Id="rId11" Type="http://schemas.openxmlformats.org/officeDocument/2006/relationships/slideLayout" Target="../slideLayouts/slideLayout1511.xml"/><Relationship Id="rId5" Type="http://schemas.openxmlformats.org/officeDocument/2006/relationships/slideLayout" Target="../slideLayouts/slideLayout1505.xml"/><Relationship Id="rId10" Type="http://schemas.openxmlformats.org/officeDocument/2006/relationships/slideLayout" Target="../slideLayouts/slideLayout1510.xml"/><Relationship Id="rId4" Type="http://schemas.openxmlformats.org/officeDocument/2006/relationships/slideLayout" Target="../slideLayouts/slideLayout1504.xml"/><Relationship Id="rId9" Type="http://schemas.openxmlformats.org/officeDocument/2006/relationships/slideLayout" Target="../slideLayouts/slideLayout1509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1.xml"/><Relationship Id="rId3" Type="http://schemas.openxmlformats.org/officeDocument/2006/relationships/slideLayout" Target="../slideLayouts/slideLayout1516.xml"/><Relationship Id="rId7" Type="http://schemas.openxmlformats.org/officeDocument/2006/relationships/slideLayout" Target="../slideLayouts/slideLayout1520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515.xml"/><Relationship Id="rId1" Type="http://schemas.openxmlformats.org/officeDocument/2006/relationships/slideLayout" Target="../slideLayouts/slideLayout1514.xml"/><Relationship Id="rId6" Type="http://schemas.openxmlformats.org/officeDocument/2006/relationships/slideLayout" Target="../slideLayouts/slideLayout1519.xml"/><Relationship Id="rId11" Type="http://schemas.openxmlformats.org/officeDocument/2006/relationships/slideLayout" Target="../slideLayouts/slideLayout1524.xml"/><Relationship Id="rId5" Type="http://schemas.openxmlformats.org/officeDocument/2006/relationships/slideLayout" Target="../slideLayouts/slideLayout1518.xml"/><Relationship Id="rId10" Type="http://schemas.openxmlformats.org/officeDocument/2006/relationships/slideLayout" Target="../slideLayouts/slideLayout1523.xml"/><Relationship Id="rId4" Type="http://schemas.openxmlformats.org/officeDocument/2006/relationships/slideLayout" Target="../slideLayouts/slideLayout1517.xml"/><Relationship Id="rId9" Type="http://schemas.openxmlformats.org/officeDocument/2006/relationships/slideLayout" Target="../slideLayouts/slideLayout152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2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527.xml"/><Relationship Id="rId7" Type="http://schemas.openxmlformats.org/officeDocument/2006/relationships/slideLayout" Target="../slideLayouts/slideLayout1531.xml"/><Relationship Id="rId12" Type="http://schemas.openxmlformats.org/officeDocument/2006/relationships/slideLayout" Target="../slideLayouts/slideLayout1536.xml"/><Relationship Id="rId2" Type="http://schemas.openxmlformats.org/officeDocument/2006/relationships/slideLayout" Target="../slideLayouts/slideLayout1526.xml"/><Relationship Id="rId1" Type="http://schemas.openxmlformats.org/officeDocument/2006/relationships/slideLayout" Target="../slideLayouts/slideLayout1525.xml"/><Relationship Id="rId6" Type="http://schemas.openxmlformats.org/officeDocument/2006/relationships/slideLayout" Target="../slideLayouts/slideLayout1530.xml"/><Relationship Id="rId11" Type="http://schemas.openxmlformats.org/officeDocument/2006/relationships/slideLayout" Target="../slideLayouts/slideLayout1535.xml"/><Relationship Id="rId5" Type="http://schemas.openxmlformats.org/officeDocument/2006/relationships/slideLayout" Target="../slideLayouts/slideLayout1529.xml"/><Relationship Id="rId10" Type="http://schemas.openxmlformats.org/officeDocument/2006/relationships/slideLayout" Target="../slideLayouts/slideLayout1534.xml"/><Relationship Id="rId4" Type="http://schemas.openxmlformats.org/officeDocument/2006/relationships/slideLayout" Target="../slideLayouts/slideLayout1528.xml"/><Relationship Id="rId9" Type="http://schemas.openxmlformats.org/officeDocument/2006/relationships/slideLayout" Target="../slideLayouts/slideLayout1533.xml"/><Relationship Id="rId14" Type="http://schemas.openxmlformats.org/officeDocument/2006/relationships/image" Target="../media/image9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6691" r:id="rId12"/>
    <p:sldLayoutId id="2147486692" r:id="rId13"/>
    <p:sldLayoutId id="2147486693" r:id="rId14"/>
    <p:sldLayoutId id="2147486694" r:id="rId15"/>
    <p:sldLayoutId id="2147486695" r:id="rId16"/>
    <p:sldLayoutId id="2147486696" r:id="rId17"/>
    <p:sldLayoutId id="2147486697" r:id="rId18"/>
    <p:sldLayoutId id="2147486698" r:id="rId19"/>
    <p:sldLayoutId id="2147486699" r:id="rId20"/>
    <p:sldLayoutId id="2147486700" r:id="rId21"/>
    <p:sldLayoutId id="2147486701" r:id="rId22"/>
    <p:sldLayoutId id="214748670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78" r:id="rId29"/>
    <p:sldLayoutId id="2147483679" r:id="rId30"/>
    <p:sldLayoutId id="2147483680" r:id="rId31"/>
    <p:sldLayoutId id="2147483681" r:id="rId32"/>
    <p:sldLayoutId id="2147483682" r:id="rId33"/>
    <p:sldLayoutId id="2147483683" r:id="rId34"/>
    <p:sldLayoutId id="2147483684" r:id="rId35"/>
    <p:sldLayoutId id="2147483685" r:id="rId36"/>
    <p:sldLayoutId id="2147483686" r:id="rId37"/>
    <p:sldLayoutId id="2147483687" r:id="rId38"/>
    <p:sldLayoutId id="2147483688" r:id="rId39"/>
    <p:sldLayoutId id="2147483689" r:id="rId40"/>
    <p:sldLayoutId id="2147483690" r:id="rId41"/>
    <p:sldLayoutId id="2147483691" r:id="rId42"/>
    <p:sldLayoutId id="2147483692" r:id="rId43"/>
    <p:sldLayoutId id="2147483693" r:id="rId44"/>
    <p:sldLayoutId id="2147483694" r:id="rId45"/>
    <p:sldLayoutId id="2147483695" r:id="rId46"/>
    <p:sldLayoutId id="2147483696" r:id="rId47"/>
    <p:sldLayoutId id="2147483697" r:id="rId48"/>
    <p:sldLayoutId id="2147483698" r:id="rId49"/>
    <p:sldLayoutId id="2147483699" r:id="rId50"/>
    <p:sldLayoutId id="2147483700" r:id="rId51"/>
    <p:sldLayoutId id="2147483701" r:id="rId52"/>
    <p:sldLayoutId id="2147483702" r:id="rId53"/>
    <p:sldLayoutId id="2147483703" r:id="rId54"/>
    <p:sldLayoutId id="2147483704" r:id="rId55"/>
    <p:sldLayoutId id="2147483705" r:id="rId56"/>
    <p:sldLayoutId id="2147483706" r:id="rId57"/>
    <p:sldLayoutId id="2147483707" r:id="rId58"/>
    <p:sldLayoutId id="2147483708" r:id="rId59"/>
    <p:sldLayoutId id="2147483709" r:id="rId60"/>
    <p:sldLayoutId id="2147483710" r:id="rId61"/>
    <p:sldLayoutId id="2147483711" r:id="rId62"/>
    <p:sldLayoutId id="2147483712" r:id="rId63"/>
    <p:sldLayoutId id="2147483713" r:id="rId64"/>
    <p:sldLayoutId id="2147483714" r:id="rId65"/>
    <p:sldLayoutId id="2147483715" r:id="rId66"/>
    <p:sldLayoutId id="2147485644" r:id="rId67"/>
    <p:sldLayoutId id="2147485646" r:id="rId68"/>
    <p:sldLayoutId id="2147485647" r:id="rId69"/>
    <p:sldLayoutId id="2147483719" r:id="rId70"/>
    <p:sldLayoutId id="2147483720" r:id="rId71"/>
    <p:sldLayoutId id="2147485642" r:id="rId72"/>
    <p:sldLayoutId id="2147483722" r:id="rId73"/>
    <p:sldLayoutId id="2147483723" r:id="rId74"/>
    <p:sldLayoutId id="2147483724" r:id="rId75"/>
    <p:sldLayoutId id="2147483725" r:id="rId76"/>
    <p:sldLayoutId id="2147483726" r:id="rId77"/>
    <p:sldLayoutId id="2147483727" r:id="rId78"/>
    <p:sldLayoutId id="2147483728" r:id="rId79"/>
    <p:sldLayoutId id="2147483729" r:id="rId80"/>
    <p:sldLayoutId id="2147483730" r:id="rId81"/>
    <p:sldLayoutId id="2147483731" r:id="rId82"/>
    <p:sldLayoutId id="2147483732" r:id="rId83"/>
    <p:sldLayoutId id="2147483733" r:id="rId84"/>
    <p:sldLayoutId id="2147483734" r:id="rId85"/>
    <p:sldLayoutId id="2147483735" r:id="rId86"/>
    <p:sldLayoutId id="2147483736" r:id="rId87"/>
    <p:sldLayoutId id="2147483737" r:id="rId88"/>
    <p:sldLayoutId id="2147483738" r:id="rId89"/>
    <p:sldLayoutId id="2147483739" r:id="rId90"/>
    <p:sldLayoutId id="2147483740" r:id="rId91"/>
    <p:sldLayoutId id="2147485734" r:id="rId92"/>
    <p:sldLayoutId id="2147483742" r:id="rId93"/>
    <p:sldLayoutId id="2147483743" r:id="rId94"/>
    <p:sldLayoutId id="2147483744" r:id="rId95"/>
    <p:sldLayoutId id="2147483745" r:id="rId96"/>
    <p:sldLayoutId id="2147483746" r:id="rId97"/>
    <p:sldLayoutId id="2147483747" r:id="rId98"/>
    <p:sldLayoutId id="2147483748" r:id="rId99"/>
    <p:sldLayoutId id="2147483749" r:id="rId100"/>
    <p:sldLayoutId id="2147483750" r:id="rId101"/>
    <p:sldLayoutId id="2147483751" r:id="rId102"/>
    <p:sldLayoutId id="2147483752" r:id="rId103"/>
    <p:sldLayoutId id="2147483753" r:id="rId104"/>
    <p:sldLayoutId id="2147483754" r:id="rId105"/>
    <p:sldLayoutId id="2147483755" r:id="rId106"/>
    <p:sldLayoutId id="2147483756" r:id="rId107"/>
    <p:sldLayoutId id="2147483757" r:id="rId108"/>
    <p:sldLayoutId id="2147483758" r:id="rId109"/>
    <p:sldLayoutId id="2147483759" r:id="rId110"/>
    <p:sldLayoutId id="2147483760" r:id="rId111"/>
    <p:sldLayoutId id="2147483761" r:id="rId112"/>
    <p:sldLayoutId id="2147483762" r:id="rId113"/>
    <p:sldLayoutId id="2147483763" r:id="rId114"/>
    <p:sldLayoutId id="2147483764" r:id="rId115"/>
    <p:sldLayoutId id="2147483765" r:id="rId116"/>
    <p:sldLayoutId id="2147483766" r:id="rId117"/>
    <p:sldLayoutId id="2147483767" r:id="rId118"/>
    <p:sldLayoutId id="2147483768" r:id="rId119"/>
    <p:sldLayoutId id="2147483769" r:id="rId120"/>
    <p:sldLayoutId id="2147483770" r:id="rId121"/>
    <p:sldLayoutId id="2147483771" r:id="rId122"/>
    <p:sldLayoutId id="2147483772" r:id="rId123"/>
    <p:sldLayoutId id="2147483773" r:id="rId124"/>
    <p:sldLayoutId id="2147483774" r:id="rId125"/>
    <p:sldLayoutId id="2147483775" r:id="rId126"/>
    <p:sldLayoutId id="2147483776" r:id="rId127"/>
    <p:sldLayoutId id="2147483777" r:id="rId128"/>
    <p:sldLayoutId id="2147483778" r:id="rId129"/>
    <p:sldLayoutId id="2147483779" r:id="rId130"/>
    <p:sldLayoutId id="2147483780" r:id="rId131"/>
    <p:sldLayoutId id="2147483781" r:id="rId132"/>
    <p:sldLayoutId id="2147483782" r:id="rId133"/>
    <p:sldLayoutId id="2147483783" r:id="rId134"/>
    <p:sldLayoutId id="2147483784" r:id="rId135"/>
    <p:sldLayoutId id="2147483785" r:id="rId136"/>
    <p:sldLayoutId id="2147483786" r:id="rId137"/>
    <p:sldLayoutId id="2147483787" r:id="rId138"/>
    <p:sldLayoutId id="2147483788" r:id="rId139"/>
    <p:sldLayoutId id="2147483789" r:id="rId140"/>
    <p:sldLayoutId id="2147483790" r:id="rId141"/>
    <p:sldLayoutId id="2147483791" r:id="rId142"/>
    <p:sldLayoutId id="2147483792" r:id="rId143"/>
    <p:sldLayoutId id="2147483793" r:id="rId144"/>
    <p:sldLayoutId id="2147483794" r:id="rId145"/>
    <p:sldLayoutId id="2147483795" r:id="rId146"/>
    <p:sldLayoutId id="2147483796" r:id="rId147"/>
    <p:sldLayoutId id="2147483797" r:id="rId148"/>
    <p:sldLayoutId id="2147483798" r:id="rId149"/>
    <p:sldLayoutId id="2147483799" r:id="rId150"/>
    <p:sldLayoutId id="2147483800" r:id="rId151"/>
    <p:sldLayoutId id="2147483801" r:id="rId152"/>
    <p:sldLayoutId id="2147483802" r:id="rId153"/>
    <p:sldLayoutId id="2147483803" r:id="rId154"/>
    <p:sldLayoutId id="2147483804" r:id="rId155"/>
    <p:sldLayoutId id="2147483805" r:id="rId156"/>
    <p:sldLayoutId id="2147483806" r:id="rId157"/>
    <p:sldLayoutId id="2147483807" r:id="rId158"/>
    <p:sldLayoutId id="2147483808" r:id="rId159"/>
    <p:sldLayoutId id="2147483809" r:id="rId160"/>
    <p:sldLayoutId id="2147483810" r:id="rId161"/>
    <p:sldLayoutId id="2147483811" r:id="rId162"/>
    <p:sldLayoutId id="2147483812" r:id="rId163"/>
    <p:sldLayoutId id="2147483813" r:id="rId164"/>
    <p:sldLayoutId id="2147483814" r:id="rId165"/>
    <p:sldLayoutId id="2147483815" r:id="rId166"/>
    <p:sldLayoutId id="2147483816" r:id="rId167"/>
    <p:sldLayoutId id="2147483817" r:id="rId168"/>
    <p:sldLayoutId id="2147483818" r:id="rId169"/>
    <p:sldLayoutId id="2147483819" r:id="rId170"/>
    <p:sldLayoutId id="2147483820" r:id="rId171"/>
    <p:sldLayoutId id="2147483821" r:id="rId172"/>
    <p:sldLayoutId id="2147483822" r:id="rId173"/>
    <p:sldLayoutId id="2147483823" r:id="rId174"/>
    <p:sldLayoutId id="2147483824" r:id="rId175"/>
    <p:sldLayoutId id="2147483825" r:id="rId176"/>
    <p:sldLayoutId id="2147483826" r:id="rId177"/>
    <p:sldLayoutId id="2147483827" r:id="rId178"/>
    <p:sldLayoutId id="2147483828" r:id="rId179"/>
    <p:sldLayoutId id="2147483829" r:id="rId180"/>
    <p:sldLayoutId id="2147483830" r:id="rId181"/>
    <p:sldLayoutId id="2147483831" r:id="rId182"/>
    <p:sldLayoutId id="2147483832" r:id="rId183"/>
    <p:sldLayoutId id="2147483833" r:id="rId184"/>
    <p:sldLayoutId id="2147483834" r:id="rId185"/>
    <p:sldLayoutId id="2147483835" r:id="rId186"/>
    <p:sldLayoutId id="2147483836" r:id="rId187"/>
    <p:sldLayoutId id="2147483837" r:id="rId188"/>
    <p:sldLayoutId id="2147483838" r:id="rId189"/>
    <p:sldLayoutId id="2147483839" r:id="rId190"/>
    <p:sldLayoutId id="2147483840" r:id="rId191"/>
    <p:sldLayoutId id="2147483841" r:id="rId192"/>
    <p:sldLayoutId id="2147483842" r:id="rId193"/>
    <p:sldLayoutId id="2147483843" r:id="rId194"/>
    <p:sldLayoutId id="2147483844" r:id="rId195"/>
    <p:sldLayoutId id="2147483845" r:id="rId196"/>
    <p:sldLayoutId id="2147483846" r:id="rId197"/>
    <p:sldLayoutId id="2147483847" r:id="rId198"/>
    <p:sldLayoutId id="2147483848" r:id="rId199"/>
    <p:sldLayoutId id="2147483849" r:id="rId200"/>
    <p:sldLayoutId id="2147483850" r:id="rId201"/>
    <p:sldLayoutId id="2147483851" r:id="rId202"/>
    <p:sldLayoutId id="2147483852" r:id="rId203"/>
    <p:sldLayoutId id="2147483853" r:id="rId204"/>
    <p:sldLayoutId id="2147483854" r:id="rId205"/>
    <p:sldLayoutId id="2147483855" r:id="rId206"/>
    <p:sldLayoutId id="2147483856" r:id="rId207"/>
    <p:sldLayoutId id="2147483857" r:id="rId208"/>
    <p:sldLayoutId id="2147483858" r:id="rId209"/>
    <p:sldLayoutId id="2147483859" r:id="rId210"/>
    <p:sldLayoutId id="2147483860" r:id="rId211"/>
    <p:sldLayoutId id="2147483861" r:id="rId212"/>
    <p:sldLayoutId id="2147483862" r:id="rId213"/>
    <p:sldLayoutId id="2147483863" r:id="rId214"/>
    <p:sldLayoutId id="2147483864" r:id="rId215"/>
    <p:sldLayoutId id="2147483865" r:id="rId216"/>
    <p:sldLayoutId id="2147483866" r:id="rId217"/>
    <p:sldLayoutId id="2147483867" r:id="rId218"/>
    <p:sldLayoutId id="2147485671" r:id="rId219"/>
    <p:sldLayoutId id="2147483869" r:id="rId220"/>
    <p:sldLayoutId id="2147483870" r:id="rId221"/>
    <p:sldLayoutId id="2147483871" r:id="rId222"/>
    <p:sldLayoutId id="2147483872" r:id="rId223"/>
    <p:sldLayoutId id="2147483873" r:id="rId224"/>
    <p:sldLayoutId id="2147483874" r:id="rId225"/>
    <p:sldLayoutId id="2147483875" r:id="rId226"/>
    <p:sldLayoutId id="2147483876" r:id="rId227"/>
    <p:sldLayoutId id="2147485696" r:id="rId228"/>
    <p:sldLayoutId id="2147485697" r:id="rId229"/>
    <p:sldLayoutId id="2147483879" r:id="rId230"/>
    <p:sldLayoutId id="2147483880" r:id="rId231"/>
    <p:sldLayoutId id="2147483881" r:id="rId232"/>
    <p:sldLayoutId id="2147483882" r:id="rId233"/>
    <p:sldLayoutId id="2147483883" r:id="rId234"/>
    <p:sldLayoutId id="2147483884" r:id="rId235"/>
    <p:sldLayoutId id="2147485735" r:id="rId236"/>
    <p:sldLayoutId id="2147483886" r:id="rId237"/>
    <p:sldLayoutId id="2147483887" r:id="rId238"/>
    <p:sldLayoutId id="2147483888" r:id="rId239"/>
    <p:sldLayoutId id="2147483889" r:id="rId240"/>
    <p:sldLayoutId id="2147483890" r:id="rId241"/>
    <p:sldLayoutId id="2147483891" r:id="rId242"/>
    <p:sldLayoutId id="2147483892" r:id="rId243"/>
    <p:sldLayoutId id="2147483893" r:id="rId244"/>
    <p:sldLayoutId id="2147483894" r:id="rId245"/>
    <p:sldLayoutId id="2147483895" r:id="rId246"/>
    <p:sldLayoutId id="2147483896" r:id="rId247"/>
    <p:sldLayoutId id="2147483897" r:id="rId248"/>
    <p:sldLayoutId id="2147483898" r:id="rId249"/>
    <p:sldLayoutId id="2147483899" r:id="rId250"/>
    <p:sldLayoutId id="2147483900" r:id="rId251"/>
    <p:sldLayoutId id="2147483901" r:id="rId252"/>
    <p:sldLayoutId id="2147483902" r:id="rId253"/>
    <p:sldLayoutId id="2147483903" r:id="rId254"/>
    <p:sldLayoutId id="2147483904" r:id="rId255"/>
    <p:sldLayoutId id="2147483905" r:id="rId256"/>
    <p:sldLayoutId id="2147483906" r:id="rId257"/>
    <p:sldLayoutId id="2147483907" r:id="rId258"/>
    <p:sldLayoutId id="2147483908" r:id="rId259"/>
    <p:sldLayoutId id="2147483909" r:id="rId260"/>
    <p:sldLayoutId id="2147483910" r:id="rId261"/>
    <p:sldLayoutId id="2147483911" r:id="rId262"/>
    <p:sldLayoutId id="2147483912" r:id="rId263"/>
    <p:sldLayoutId id="2147483913" r:id="rId264"/>
    <p:sldLayoutId id="2147483914" r:id="rId265"/>
    <p:sldLayoutId id="2147483915" r:id="rId266"/>
    <p:sldLayoutId id="2147483916" r:id="rId267"/>
    <p:sldLayoutId id="2147483917" r:id="rId268"/>
    <p:sldLayoutId id="2147483918" r:id="rId269"/>
    <p:sldLayoutId id="2147483919" r:id="rId270"/>
    <p:sldLayoutId id="2147483920" r:id="rId27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07FF32-EB2A-3A34-47C3-076ADC828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42A8C4-C11C-34F7-1892-13EE728A07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C0517E-DA78-5519-735F-DEBB67E005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2B8371-D38B-4C01-98E6-47F637E51C41}" type="datetimeFigureOut">
              <a:rPr lang="en-US" smtClean="0"/>
              <a:t>2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7D5B6D-237B-1808-F962-DB2F916905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CC4AF5-7BF6-48DB-0632-1B46ED5C8A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3325B6-4B70-4C9B-91F4-029E53B84C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778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80" r:id="rId1"/>
    <p:sldLayoutId id="2147486681" r:id="rId2"/>
    <p:sldLayoutId id="2147486682" r:id="rId3"/>
    <p:sldLayoutId id="2147486683" r:id="rId4"/>
    <p:sldLayoutId id="2147486684" r:id="rId5"/>
    <p:sldLayoutId id="2147486685" r:id="rId6"/>
    <p:sldLayoutId id="2147486686" r:id="rId7"/>
    <p:sldLayoutId id="2147486687" r:id="rId8"/>
    <p:sldLayoutId id="2147486688" r:id="rId9"/>
    <p:sldLayoutId id="2147486689" r:id="rId10"/>
    <p:sldLayoutId id="214748669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5DC5B261-8843-42D1-AAFC-05E20E2D9B97}" type="datetimeFigureOut">
              <a:rPr lang="en-US" smtClean="0"/>
              <a:t>2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6472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4" name="Google Shape;2694;p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95" name="Google Shape;2695;p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96" name="Google Shape;2696;p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697" name="Google Shape;2697;p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1" r:id="rId10"/>
    <p:sldLayoutId id="2147483932" r:id="rId11"/>
    <p:sldLayoutId id="2147483933" r:id="rId12"/>
    <p:sldLayoutId id="2147483934" r:id="rId13"/>
    <p:sldLayoutId id="2147483935" r:id="rId14"/>
    <p:sldLayoutId id="2147483936" r:id="rId15"/>
    <p:sldLayoutId id="2147483937" r:id="rId16"/>
    <p:sldLayoutId id="2147483938" r:id="rId17"/>
    <p:sldLayoutId id="2147483939" r:id="rId18"/>
    <p:sldLayoutId id="2147483940" r:id="rId19"/>
    <p:sldLayoutId id="2147483941" r:id="rId20"/>
    <p:sldLayoutId id="2147483942" r:id="rId21"/>
    <p:sldLayoutId id="2147483943" r:id="rId22"/>
    <p:sldLayoutId id="2147483944" r:id="rId23"/>
    <p:sldLayoutId id="2147483945" r:id="rId24"/>
    <p:sldLayoutId id="2147483946" r:id="rId25"/>
    <p:sldLayoutId id="2147483947" r:id="rId26"/>
    <p:sldLayoutId id="2147483948" r:id="rId27"/>
    <p:sldLayoutId id="2147483949" r:id="rId28"/>
    <p:sldLayoutId id="2147483950" r:id="rId29"/>
    <p:sldLayoutId id="2147483951" r:id="rId30"/>
    <p:sldLayoutId id="2147483952" r:id="rId31"/>
    <p:sldLayoutId id="2147483953" r:id="rId32"/>
    <p:sldLayoutId id="2147483954" r:id="rId33"/>
    <p:sldLayoutId id="2147483955" r:id="rId34"/>
    <p:sldLayoutId id="2147483956" r:id="rId35"/>
    <p:sldLayoutId id="2147483957" r:id="rId36"/>
    <p:sldLayoutId id="2147483958" r:id="rId37"/>
    <p:sldLayoutId id="2147483959" r:id="rId38"/>
    <p:sldLayoutId id="2147483960" r:id="rId39"/>
    <p:sldLayoutId id="2147483961" r:id="rId40"/>
    <p:sldLayoutId id="2147483962" r:id="rId41"/>
    <p:sldLayoutId id="2147483963" r:id="rId42"/>
    <p:sldLayoutId id="2147483964" r:id="rId43"/>
    <p:sldLayoutId id="2147483965" r:id="rId44"/>
    <p:sldLayoutId id="2147483966" r:id="rId45"/>
    <p:sldLayoutId id="2147483967" r:id="rId46"/>
    <p:sldLayoutId id="2147483968" r:id="rId47"/>
    <p:sldLayoutId id="2147483969" r:id="rId48"/>
    <p:sldLayoutId id="2147483970" r:id="rId49"/>
    <p:sldLayoutId id="2147483971" r:id="rId50"/>
    <p:sldLayoutId id="2147483972" r:id="rId51"/>
    <p:sldLayoutId id="2147483973" r:id="rId52"/>
    <p:sldLayoutId id="2147483974" r:id="rId53"/>
    <p:sldLayoutId id="2147483975" r:id="rId54"/>
    <p:sldLayoutId id="2147483976" r:id="rId55"/>
    <p:sldLayoutId id="2147483977" r:id="rId56"/>
    <p:sldLayoutId id="2147483978" r:id="rId57"/>
    <p:sldLayoutId id="2147483979" r:id="rId58"/>
    <p:sldLayoutId id="2147483980" r:id="rId59"/>
    <p:sldLayoutId id="2147483981" r:id="rId60"/>
    <p:sldLayoutId id="2147483982" r:id="rId61"/>
    <p:sldLayoutId id="2147483983" r:id="rId62"/>
    <p:sldLayoutId id="2147483984" r:id="rId63"/>
    <p:sldLayoutId id="2147483985" r:id="rId64"/>
    <p:sldLayoutId id="2147483986" r:id="rId65"/>
    <p:sldLayoutId id="2147483987" r:id="rId66"/>
    <p:sldLayoutId id="2147483988" r:id="rId67"/>
    <p:sldLayoutId id="2147483989" r:id="rId68"/>
    <p:sldLayoutId id="2147483990" r:id="rId69"/>
    <p:sldLayoutId id="2147483991" r:id="rId70"/>
    <p:sldLayoutId id="2147483992" r:id="rId71"/>
    <p:sldLayoutId id="2147483993" r:id="rId72"/>
    <p:sldLayoutId id="2147483994" r:id="rId73"/>
    <p:sldLayoutId id="2147483995" r:id="rId74"/>
    <p:sldLayoutId id="2147483996" r:id="rId75"/>
    <p:sldLayoutId id="2147483997" r:id="rId76"/>
    <p:sldLayoutId id="2147483998" r:id="rId77"/>
    <p:sldLayoutId id="2147483999" r:id="rId78"/>
    <p:sldLayoutId id="2147484000" r:id="rId79"/>
    <p:sldLayoutId id="2147484001" r:id="rId80"/>
    <p:sldLayoutId id="2147484002" r:id="rId81"/>
    <p:sldLayoutId id="2147484003" r:id="rId82"/>
    <p:sldLayoutId id="2147484004" r:id="rId83"/>
    <p:sldLayoutId id="2147484005" r:id="rId84"/>
    <p:sldLayoutId id="2147484006" r:id="rId85"/>
    <p:sldLayoutId id="2147484007" r:id="rId86"/>
    <p:sldLayoutId id="2147484008" r:id="rId87"/>
    <p:sldLayoutId id="2147484009" r:id="rId88"/>
    <p:sldLayoutId id="2147484010" r:id="rId89"/>
    <p:sldLayoutId id="2147484011" r:id="rId90"/>
    <p:sldLayoutId id="2147484012" r:id="rId91"/>
    <p:sldLayoutId id="2147484013" r:id="rId92"/>
    <p:sldLayoutId id="2147484014" r:id="rId93"/>
    <p:sldLayoutId id="2147484015" r:id="rId94"/>
    <p:sldLayoutId id="2147484016" r:id="rId95"/>
    <p:sldLayoutId id="2147484017" r:id="rId96"/>
    <p:sldLayoutId id="2147484018" r:id="rId97"/>
    <p:sldLayoutId id="2147484019" r:id="rId98"/>
    <p:sldLayoutId id="2147484020" r:id="rId99"/>
    <p:sldLayoutId id="2147484021" r:id="rId100"/>
    <p:sldLayoutId id="2147484022" r:id="rId101"/>
    <p:sldLayoutId id="2147484023" r:id="rId102"/>
    <p:sldLayoutId id="2147484024" r:id="rId103"/>
    <p:sldLayoutId id="2147484025" r:id="rId104"/>
    <p:sldLayoutId id="2147484026" r:id="rId105"/>
    <p:sldLayoutId id="2147484027" r:id="rId106"/>
    <p:sldLayoutId id="2147484028" r:id="rId107"/>
    <p:sldLayoutId id="2147484029" r:id="rId108"/>
    <p:sldLayoutId id="2147484030" r:id="rId109"/>
    <p:sldLayoutId id="2147484031" r:id="rId110"/>
    <p:sldLayoutId id="2147484032" r:id="rId111"/>
    <p:sldLayoutId id="2147484033" r:id="rId112"/>
    <p:sldLayoutId id="2147484034" r:id="rId113"/>
    <p:sldLayoutId id="2147484035" r:id="rId114"/>
    <p:sldLayoutId id="2147484036" r:id="rId115"/>
    <p:sldLayoutId id="2147484037" r:id="rId116"/>
    <p:sldLayoutId id="2147484038" r:id="rId117"/>
    <p:sldLayoutId id="2147484039" r:id="rId118"/>
    <p:sldLayoutId id="2147484040" r:id="rId119"/>
    <p:sldLayoutId id="2147484041" r:id="rId120"/>
    <p:sldLayoutId id="2147484042" r:id="rId121"/>
    <p:sldLayoutId id="2147484043" r:id="rId122"/>
    <p:sldLayoutId id="2147484044" r:id="rId123"/>
    <p:sldLayoutId id="2147484045" r:id="rId124"/>
    <p:sldLayoutId id="2147484046" r:id="rId125"/>
    <p:sldLayoutId id="2147484047" r:id="rId126"/>
    <p:sldLayoutId id="2147484048" r:id="rId127"/>
    <p:sldLayoutId id="2147484049" r:id="rId128"/>
    <p:sldLayoutId id="2147484050" r:id="rId129"/>
    <p:sldLayoutId id="2147484051" r:id="rId130"/>
    <p:sldLayoutId id="2147484052" r:id="rId131"/>
    <p:sldLayoutId id="2147484053" r:id="rId132"/>
    <p:sldLayoutId id="2147484054" r:id="rId133"/>
    <p:sldLayoutId id="2147484055" r:id="rId134"/>
    <p:sldLayoutId id="2147484056" r:id="rId135"/>
    <p:sldLayoutId id="2147484057" r:id="rId136"/>
    <p:sldLayoutId id="2147484058" r:id="rId137"/>
    <p:sldLayoutId id="2147484059" r:id="rId138"/>
    <p:sldLayoutId id="2147484060" r:id="rId139"/>
    <p:sldLayoutId id="2147484061" r:id="rId140"/>
    <p:sldLayoutId id="2147484062" r:id="rId141"/>
    <p:sldLayoutId id="2147484063" r:id="rId142"/>
    <p:sldLayoutId id="2147484064" r:id="rId143"/>
    <p:sldLayoutId id="2147484065" r:id="rId144"/>
    <p:sldLayoutId id="2147484066" r:id="rId145"/>
    <p:sldLayoutId id="2147484067" r:id="rId146"/>
    <p:sldLayoutId id="2147484068" r:id="rId147"/>
    <p:sldLayoutId id="2147484069" r:id="rId148"/>
    <p:sldLayoutId id="2147484070" r:id="rId14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2" name="Google Shape;4182;p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183" name="Google Shape;4183;p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84" name="Google Shape;4184;p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185" name="Google Shape;4185;p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2" r:id="rId11"/>
    <p:sldLayoutId id="2147484083" r:id="rId12"/>
    <p:sldLayoutId id="2147484084" r:id="rId13"/>
    <p:sldLayoutId id="2147484085" r:id="rId14"/>
    <p:sldLayoutId id="2147484086" r:id="rId15"/>
    <p:sldLayoutId id="2147484087" r:id="rId16"/>
    <p:sldLayoutId id="2147484088" r:id="rId17"/>
    <p:sldLayoutId id="2147484089" r:id="rId18"/>
    <p:sldLayoutId id="2147484090" r:id="rId19"/>
    <p:sldLayoutId id="2147484091" r:id="rId20"/>
    <p:sldLayoutId id="2147484092" r:id="rId21"/>
    <p:sldLayoutId id="2147484093" r:id="rId22"/>
    <p:sldLayoutId id="2147484094" r:id="rId23"/>
    <p:sldLayoutId id="2147484095" r:id="rId24"/>
    <p:sldLayoutId id="2147484096" r:id="rId25"/>
    <p:sldLayoutId id="2147484097" r:id="rId26"/>
    <p:sldLayoutId id="2147484098" r:id="rId27"/>
    <p:sldLayoutId id="2147484099" r:id="rId28"/>
    <p:sldLayoutId id="2147484100" r:id="rId29"/>
    <p:sldLayoutId id="2147484101" r:id="rId30"/>
    <p:sldLayoutId id="2147484102" r:id="rId31"/>
    <p:sldLayoutId id="2147484103" r:id="rId32"/>
    <p:sldLayoutId id="2147484104" r:id="rId33"/>
    <p:sldLayoutId id="2147484105" r:id="rId34"/>
    <p:sldLayoutId id="2147484106" r:id="rId35"/>
    <p:sldLayoutId id="2147484107" r:id="rId36"/>
    <p:sldLayoutId id="2147484108" r:id="rId37"/>
    <p:sldLayoutId id="2147484109" r:id="rId38"/>
    <p:sldLayoutId id="2147484110" r:id="rId39"/>
    <p:sldLayoutId id="2147484111" r:id="rId40"/>
    <p:sldLayoutId id="2147484112" r:id="rId41"/>
    <p:sldLayoutId id="2147484113" r:id="rId42"/>
    <p:sldLayoutId id="2147484114" r:id="rId43"/>
    <p:sldLayoutId id="2147484115" r:id="rId44"/>
    <p:sldLayoutId id="2147484116" r:id="rId45"/>
    <p:sldLayoutId id="2147484117" r:id="rId46"/>
    <p:sldLayoutId id="2147484118" r:id="rId47"/>
    <p:sldLayoutId id="2147484119" r:id="rId48"/>
    <p:sldLayoutId id="2147484120" r:id="rId49"/>
    <p:sldLayoutId id="2147484121" r:id="rId50"/>
    <p:sldLayoutId id="2147484122" r:id="rId51"/>
    <p:sldLayoutId id="2147484123" r:id="rId52"/>
    <p:sldLayoutId id="2147484124" r:id="rId53"/>
    <p:sldLayoutId id="2147484125" r:id="rId54"/>
    <p:sldLayoutId id="2147484126" r:id="rId55"/>
    <p:sldLayoutId id="2147484127" r:id="rId56"/>
    <p:sldLayoutId id="2147484128" r:id="rId57"/>
    <p:sldLayoutId id="2147484129" r:id="rId58"/>
    <p:sldLayoutId id="2147484130" r:id="rId59"/>
    <p:sldLayoutId id="2147484131" r:id="rId60"/>
    <p:sldLayoutId id="2147484132" r:id="rId61"/>
    <p:sldLayoutId id="2147484133" r:id="rId62"/>
    <p:sldLayoutId id="2147484134" r:id="rId63"/>
    <p:sldLayoutId id="2147484135" r:id="rId64"/>
    <p:sldLayoutId id="2147484136" r:id="rId65"/>
    <p:sldLayoutId id="2147484137" r:id="rId66"/>
    <p:sldLayoutId id="2147484138" r:id="rId67"/>
    <p:sldLayoutId id="2147484139" r:id="rId68"/>
    <p:sldLayoutId id="2147484140" r:id="rId69"/>
    <p:sldLayoutId id="2147484141" r:id="rId70"/>
    <p:sldLayoutId id="2147484142" r:id="rId71"/>
    <p:sldLayoutId id="2147484143" r:id="rId72"/>
    <p:sldLayoutId id="2147484144" r:id="rId73"/>
    <p:sldLayoutId id="2147484145" r:id="rId74"/>
    <p:sldLayoutId id="2147484146" r:id="rId75"/>
    <p:sldLayoutId id="2147484147" r:id="rId76"/>
    <p:sldLayoutId id="2147484148" r:id="rId77"/>
    <p:sldLayoutId id="2147484149" r:id="rId78"/>
    <p:sldLayoutId id="2147484150" r:id="rId79"/>
    <p:sldLayoutId id="2147484151" r:id="rId80"/>
    <p:sldLayoutId id="2147484152" r:id="rId81"/>
    <p:sldLayoutId id="2147484153" r:id="rId82"/>
    <p:sldLayoutId id="2147484154" r:id="rId83"/>
    <p:sldLayoutId id="2147484155" r:id="rId84"/>
    <p:sldLayoutId id="2147484156" r:id="rId85"/>
    <p:sldLayoutId id="2147484157" r:id="rId86"/>
    <p:sldLayoutId id="2147484158" r:id="rId87"/>
    <p:sldLayoutId id="2147484159" r:id="rId88"/>
    <p:sldLayoutId id="2147484160" r:id="rId89"/>
    <p:sldLayoutId id="2147484161" r:id="rId90"/>
    <p:sldLayoutId id="2147484162" r:id="rId91"/>
    <p:sldLayoutId id="2147484163" r:id="rId92"/>
    <p:sldLayoutId id="2147484164" r:id="rId93"/>
    <p:sldLayoutId id="2147484165" r:id="rId94"/>
    <p:sldLayoutId id="2147484166" r:id="rId95"/>
    <p:sldLayoutId id="2147484167" r:id="rId96"/>
    <p:sldLayoutId id="2147484168" r:id="rId97"/>
    <p:sldLayoutId id="2147484169" r:id="rId98"/>
    <p:sldLayoutId id="2147484170" r:id="rId99"/>
    <p:sldLayoutId id="2147484171" r:id="rId100"/>
    <p:sldLayoutId id="2147484172" r:id="rId101"/>
    <p:sldLayoutId id="2147484173" r:id="rId102"/>
    <p:sldLayoutId id="2147484174" r:id="rId103"/>
    <p:sldLayoutId id="2147484175" r:id="rId104"/>
    <p:sldLayoutId id="2147484176" r:id="rId105"/>
    <p:sldLayoutId id="2147484177" r:id="rId106"/>
    <p:sldLayoutId id="2147484178" r:id="rId107"/>
    <p:sldLayoutId id="2147484179" r:id="rId108"/>
    <p:sldLayoutId id="2147484180" r:id="rId109"/>
    <p:sldLayoutId id="2147484181" r:id="rId110"/>
    <p:sldLayoutId id="2147484182" r:id="rId111"/>
    <p:sldLayoutId id="2147484183" r:id="rId112"/>
    <p:sldLayoutId id="2147484184" r:id="rId113"/>
    <p:sldLayoutId id="2147484185" r:id="rId114"/>
    <p:sldLayoutId id="2147484186" r:id="rId115"/>
    <p:sldLayoutId id="2147484187" r:id="rId116"/>
    <p:sldLayoutId id="2147484188" r:id="rId117"/>
    <p:sldLayoutId id="2147484189" r:id="rId118"/>
    <p:sldLayoutId id="2147484190" r:id="rId119"/>
    <p:sldLayoutId id="2147484191" r:id="rId120"/>
    <p:sldLayoutId id="2147484192" r:id="rId121"/>
    <p:sldLayoutId id="2147484193" r:id="rId122"/>
    <p:sldLayoutId id="2147484194" r:id="rId123"/>
    <p:sldLayoutId id="2147484195" r:id="rId124"/>
    <p:sldLayoutId id="2147484196" r:id="rId125"/>
    <p:sldLayoutId id="2147484197" r:id="rId126"/>
    <p:sldLayoutId id="2147484198" r:id="rId127"/>
    <p:sldLayoutId id="2147484199" r:id="rId128"/>
    <p:sldLayoutId id="2147485608" r:id="rId129"/>
    <p:sldLayoutId id="2147484201" r:id="rId130"/>
    <p:sldLayoutId id="2147484202" r:id="rId131"/>
    <p:sldLayoutId id="2147484203" r:id="rId132"/>
    <p:sldLayoutId id="2147484204" r:id="rId133"/>
    <p:sldLayoutId id="2147485609" r:id="rId134"/>
    <p:sldLayoutId id="2147485610" r:id="rId135"/>
    <p:sldLayoutId id="2147484207" r:id="rId136"/>
    <p:sldLayoutId id="2147484208" r:id="rId137"/>
    <p:sldLayoutId id="2147484209" r:id="rId138"/>
    <p:sldLayoutId id="2147484210" r:id="rId139"/>
    <p:sldLayoutId id="2147484211" r:id="rId140"/>
    <p:sldLayoutId id="2147484212" r:id="rId141"/>
    <p:sldLayoutId id="2147484213" r:id="rId142"/>
    <p:sldLayoutId id="2147484214" r:id="rId143"/>
    <p:sldLayoutId id="2147484215" r:id="rId144"/>
    <p:sldLayoutId id="2147484216" r:id="rId145"/>
    <p:sldLayoutId id="2147484217" r:id="rId146"/>
    <p:sldLayoutId id="2147484218" r:id="rId147"/>
    <p:sldLayoutId id="2147484219" r:id="rId148"/>
    <p:sldLayoutId id="2147484220" r:id="rId149"/>
    <p:sldLayoutId id="2147484221" r:id="rId150"/>
    <p:sldLayoutId id="2147484222" r:id="rId151"/>
    <p:sldLayoutId id="2147484223" r:id="rId152"/>
    <p:sldLayoutId id="2147484224" r:id="rId153"/>
    <p:sldLayoutId id="2147484225" r:id="rId154"/>
    <p:sldLayoutId id="2147484226" r:id="rId155"/>
    <p:sldLayoutId id="2147484227" r:id="rId156"/>
    <p:sldLayoutId id="2147484228" r:id="rId157"/>
    <p:sldLayoutId id="2147484229" r:id="rId158"/>
    <p:sldLayoutId id="2147484230" r:id="rId159"/>
    <p:sldLayoutId id="2147485639" r:id="rId160"/>
    <p:sldLayoutId id="2147484232" r:id="rId161"/>
    <p:sldLayoutId id="2147484233" r:id="rId162"/>
    <p:sldLayoutId id="2147484234" r:id="rId163"/>
    <p:sldLayoutId id="2147485641" r:id="rId164"/>
    <p:sldLayoutId id="2147484236" r:id="rId165"/>
    <p:sldLayoutId id="2147484237" r:id="rId166"/>
    <p:sldLayoutId id="2147485607" r:id="rId167"/>
    <p:sldLayoutId id="2147484239" r:id="rId168"/>
    <p:sldLayoutId id="2147484240" r:id="rId169"/>
    <p:sldLayoutId id="2147484241" r:id="rId170"/>
    <p:sldLayoutId id="2147484242" r:id="rId171"/>
    <p:sldLayoutId id="2147484243" r:id="rId172"/>
    <p:sldLayoutId id="2147484244" r:id="rId173"/>
    <p:sldLayoutId id="2147484245" r:id="rId174"/>
    <p:sldLayoutId id="2147484246" r:id="rId175"/>
    <p:sldLayoutId id="2147484247" r:id="rId176"/>
    <p:sldLayoutId id="2147484248" r:id="rId177"/>
    <p:sldLayoutId id="2147484249" r:id="rId178"/>
    <p:sldLayoutId id="2147484250" r:id="rId179"/>
    <p:sldLayoutId id="2147485636" r:id="rId180"/>
    <p:sldLayoutId id="2147484252" r:id="rId181"/>
    <p:sldLayoutId id="2147484253" r:id="rId182"/>
    <p:sldLayoutId id="2147485635" r:id="rId183"/>
    <p:sldLayoutId id="2147484255" r:id="rId184"/>
    <p:sldLayoutId id="2147484256" r:id="rId185"/>
    <p:sldLayoutId id="2147485634" r:id="rId186"/>
    <p:sldLayoutId id="2147485633" r:id="rId187"/>
    <p:sldLayoutId id="2147484259" r:id="rId188"/>
    <p:sldLayoutId id="2147485694" r:id="rId189"/>
    <p:sldLayoutId id="2147484261" r:id="rId190"/>
    <p:sldLayoutId id="2147484262" r:id="rId191"/>
    <p:sldLayoutId id="2147484263" r:id="rId192"/>
    <p:sldLayoutId id="2147484264" r:id="rId193"/>
    <p:sldLayoutId id="2147484265" r:id="rId194"/>
    <p:sldLayoutId id="2147484266" r:id="rId195"/>
    <p:sldLayoutId id="2147484267" r:id="rId196"/>
    <p:sldLayoutId id="2147485640" r:id="rId197"/>
    <p:sldLayoutId id="2147484269" r:id="rId198"/>
    <p:sldLayoutId id="2147484270" r:id="rId199"/>
    <p:sldLayoutId id="2147484271" r:id="rId200"/>
    <p:sldLayoutId id="2147484272" r:id="rId201"/>
    <p:sldLayoutId id="2147484273" r:id="rId202"/>
    <p:sldLayoutId id="2147484274" r:id="rId203"/>
    <p:sldLayoutId id="2147484275" r:id="rId204"/>
    <p:sldLayoutId id="2147484276" r:id="rId205"/>
    <p:sldLayoutId id="2147484277" r:id="rId206"/>
    <p:sldLayoutId id="2147484278" r:id="rId207"/>
    <p:sldLayoutId id="2147484279" r:id="rId208"/>
    <p:sldLayoutId id="2147484280" r:id="rId209"/>
    <p:sldLayoutId id="2147484281" r:id="rId210"/>
    <p:sldLayoutId id="2147484282" r:id="rId211"/>
    <p:sldLayoutId id="2147484283" r:id="rId212"/>
    <p:sldLayoutId id="2147484284" r:id="rId213"/>
    <p:sldLayoutId id="2147484285" r:id="rId214"/>
    <p:sldLayoutId id="2147484286" r:id="rId215"/>
    <p:sldLayoutId id="2147484287" r:id="rId216"/>
    <p:sldLayoutId id="2147484288" r:id="rId217"/>
    <p:sldLayoutId id="2147484289" r:id="rId218"/>
    <p:sldLayoutId id="2147484290" r:id="rId219"/>
    <p:sldLayoutId id="2147484291" r:id="rId220"/>
    <p:sldLayoutId id="2147484292" r:id="rId221"/>
    <p:sldLayoutId id="2147484293" r:id="rId222"/>
    <p:sldLayoutId id="2147484294" r:id="rId223"/>
    <p:sldLayoutId id="2147484295" r:id="rId224"/>
    <p:sldLayoutId id="2147484296" r:id="rId225"/>
    <p:sldLayoutId id="2147484297" r:id="rId226"/>
    <p:sldLayoutId id="2147484298" r:id="rId227"/>
    <p:sldLayoutId id="2147484299" r:id="rId228"/>
    <p:sldLayoutId id="2147484300" r:id="rId229"/>
    <p:sldLayoutId id="2147484301" r:id="rId230"/>
    <p:sldLayoutId id="2147484302" r:id="rId231"/>
    <p:sldLayoutId id="2147484303" r:id="rId232"/>
    <p:sldLayoutId id="2147484304" r:id="rId233"/>
    <p:sldLayoutId id="2147484305" r:id="rId234"/>
    <p:sldLayoutId id="2147484306" r:id="rId235"/>
    <p:sldLayoutId id="2147484307" r:id="rId236"/>
    <p:sldLayoutId id="2147484308" r:id="rId237"/>
    <p:sldLayoutId id="2147484309" r:id="rId238"/>
    <p:sldLayoutId id="2147484310" r:id="rId239"/>
    <p:sldLayoutId id="2147484311" r:id="rId240"/>
    <p:sldLayoutId id="2147484312" r:id="rId241"/>
    <p:sldLayoutId id="2147485653" r:id="rId242"/>
    <p:sldLayoutId id="2147484314" r:id="rId243"/>
    <p:sldLayoutId id="2147485654" r:id="rId244"/>
    <p:sldLayoutId id="2147484316" r:id="rId245"/>
    <p:sldLayoutId id="2147484317" r:id="rId246"/>
    <p:sldLayoutId id="2147484318" r:id="rId247"/>
    <p:sldLayoutId id="2147484319" r:id="rId248"/>
    <p:sldLayoutId id="2147484320" r:id="rId249"/>
    <p:sldLayoutId id="2147484321" r:id="rId250"/>
    <p:sldLayoutId id="2147484322" r:id="rId251"/>
    <p:sldLayoutId id="2147484323" r:id="rId252"/>
    <p:sldLayoutId id="2147484324" r:id="rId253"/>
    <p:sldLayoutId id="2147484325" r:id="rId254"/>
    <p:sldLayoutId id="2147484326" r:id="rId255"/>
    <p:sldLayoutId id="2147484327" r:id="rId256"/>
    <p:sldLayoutId id="2147484328" r:id="rId257"/>
    <p:sldLayoutId id="2147485685" r:id="rId258"/>
    <p:sldLayoutId id="2147485686" r:id="rId259"/>
    <p:sldLayoutId id="2147485687" r:id="rId260"/>
    <p:sldLayoutId id="2147485688" r:id="rId261"/>
    <p:sldLayoutId id="2147484333" r:id="rId262"/>
    <p:sldLayoutId id="2147484334" r:id="rId263"/>
    <p:sldLayoutId id="2147485658" r:id="rId264"/>
    <p:sldLayoutId id="2147485659" r:id="rId265"/>
    <p:sldLayoutId id="2147485660" r:id="rId266"/>
    <p:sldLayoutId id="2147484338" r:id="rId267"/>
    <p:sldLayoutId id="2147485663" r:id="rId268"/>
    <p:sldLayoutId id="2147485664" r:id="rId269"/>
    <p:sldLayoutId id="2147485665" r:id="rId270"/>
    <p:sldLayoutId id="2147485666" r:id="rId271"/>
    <p:sldLayoutId id="2147485667" r:id="rId272"/>
    <p:sldLayoutId id="2147485668" r:id="rId273"/>
    <p:sldLayoutId id="2147484345" r:id="rId274"/>
    <p:sldLayoutId id="2147484346" r:id="rId275"/>
    <p:sldLayoutId id="2147484347" r:id="rId276"/>
    <p:sldLayoutId id="2147484348" r:id="rId277"/>
    <p:sldLayoutId id="2147485707" r:id="rId278"/>
    <p:sldLayoutId id="2147485623" r:id="rId279"/>
    <p:sldLayoutId id="2147485622" r:id="rId280"/>
    <p:sldLayoutId id="2147485624" r:id="rId281"/>
    <p:sldLayoutId id="2147485604" r:id="rId282"/>
    <p:sldLayoutId id="2147485708" r:id="rId283"/>
    <p:sldLayoutId id="2147485630" r:id="rId284"/>
    <p:sldLayoutId id="2147485631" r:id="rId285"/>
    <p:sldLayoutId id="2147485736" r:id="rId286"/>
    <p:sldLayoutId id="2147484358" r:id="rId287"/>
    <p:sldLayoutId id="2147484359" r:id="rId288"/>
    <p:sldLayoutId id="2147484360" r:id="rId289"/>
    <p:sldLayoutId id="2147484361" r:id="rId290"/>
    <p:sldLayoutId id="2147485617" r:id="rId291"/>
    <p:sldLayoutId id="2147485618" r:id="rId292"/>
    <p:sldLayoutId id="2147485669" r:id="rId293"/>
    <p:sldLayoutId id="2147485619" r:id="rId294"/>
    <p:sldLayoutId id="2147485620" r:id="rId295"/>
    <p:sldLayoutId id="2147485621" r:id="rId296"/>
    <p:sldLayoutId id="2147484368" r:id="rId297"/>
    <p:sldLayoutId id="2147484369" r:id="rId298"/>
    <p:sldLayoutId id="2147484370" r:id="rId299"/>
    <p:sldLayoutId id="2147484371" r:id="rId300"/>
    <p:sldLayoutId id="2147484372" r:id="rId301"/>
    <p:sldLayoutId id="2147484373" r:id="rId302"/>
    <p:sldLayoutId id="2147484374" r:id="rId303"/>
    <p:sldLayoutId id="2147484375" r:id="rId304"/>
    <p:sldLayoutId id="2147485710" r:id="rId305"/>
    <p:sldLayoutId id="2147484377" r:id="rId306"/>
    <p:sldLayoutId id="2147484378" r:id="rId307"/>
    <p:sldLayoutId id="2147485711" r:id="rId308"/>
    <p:sldLayoutId id="2147484380" r:id="rId309"/>
    <p:sldLayoutId id="2147484381" r:id="rId310"/>
    <p:sldLayoutId id="2147484382" r:id="rId311"/>
    <p:sldLayoutId id="2147484383" r:id="rId312"/>
    <p:sldLayoutId id="2147485601" r:id="rId313"/>
    <p:sldLayoutId id="2147485602" r:id="rId314"/>
    <p:sldLayoutId id="2147485681" r:id="rId315"/>
    <p:sldLayoutId id="2147484387" r:id="rId316"/>
    <p:sldLayoutId id="2147484388" r:id="rId317"/>
    <p:sldLayoutId id="2147484389" r:id="rId318"/>
    <p:sldLayoutId id="2147484390" r:id="rId319"/>
    <p:sldLayoutId id="2147485603" r:id="rId320"/>
    <p:sldLayoutId id="2147484392" r:id="rId321"/>
    <p:sldLayoutId id="2147485632" r:id="rId322"/>
    <p:sldLayoutId id="2147484394" r:id="rId323"/>
    <p:sldLayoutId id="2147484395" r:id="rId324"/>
    <p:sldLayoutId id="2147484396" r:id="rId325"/>
    <p:sldLayoutId id="2147484397" r:id="rId326"/>
    <p:sldLayoutId id="2147484398" r:id="rId327"/>
    <p:sldLayoutId id="2147484399" r:id="rId328"/>
    <p:sldLayoutId id="2147485648" r:id="rId329"/>
    <p:sldLayoutId id="2147485649" r:id="rId330"/>
    <p:sldLayoutId id="2147485650" r:id="rId331"/>
    <p:sldLayoutId id="2147484403" r:id="rId332"/>
    <p:sldLayoutId id="2147484404" r:id="rId333"/>
    <p:sldLayoutId id="2147484405" r:id="rId334"/>
    <p:sldLayoutId id="2147484406" r:id="rId335"/>
    <p:sldLayoutId id="2147484407" r:id="rId336"/>
    <p:sldLayoutId id="2147484408" r:id="rId337"/>
    <p:sldLayoutId id="2147484409" r:id="rId338"/>
    <p:sldLayoutId id="2147484410" r:id="rId339"/>
    <p:sldLayoutId id="2147484411" r:id="rId340"/>
    <p:sldLayoutId id="2147484412" r:id="rId341"/>
    <p:sldLayoutId id="2147484413" r:id="rId342"/>
    <p:sldLayoutId id="2147484414" r:id="rId343"/>
    <p:sldLayoutId id="2147484415" r:id="rId344"/>
    <p:sldLayoutId id="2147484416" r:id="rId345"/>
    <p:sldLayoutId id="2147484417" r:id="rId346"/>
    <p:sldLayoutId id="2147484418" r:id="rId347"/>
    <p:sldLayoutId id="2147484419" r:id="rId348"/>
    <p:sldLayoutId id="2147484420" r:id="rId349"/>
    <p:sldLayoutId id="2147484421" r:id="rId350"/>
    <p:sldLayoutId id="2147484422" r:id="rId351"/>
    <p:sldLayoutId id="2147484423" r:id="rId352"/>
    <p:sldLayoutId id="2147484424" r:id="rId353"/>
    <p:sldLayoutId id="2147484425" r:id="rId354"/>
    <p:sldLayoutId id="2147484426" r:id="rId355"/>
    <p:sldLayoutId id="2147484427" r:id="rId356"/>
    <p:sldLayoutId id="2147484428" r:id="rId357"/>
    <p:sldLayoutId id="2147484429" r:id="rId358"/>
    <p:sldLayoutId id="2147484430" r:id="rId359"/>
    <p:sldLayoutId id="2147484431" r:id="rId360"/>
    <p:sldLayoutId id="2147484432" r:id="rId361"/>
    <p:sldLayoutId id="2147484433" r:id="rId362"/>
    <p:sldLayoutId id="2147484434" r:id="rId363"/>
    <p:sldLayoutId id="2147484435" r:id="rId364"/>
    <p:sldLayoutId id="2147484436" r:id="rId365"/>
    <p:sldLayoutId id="2147484437" r:id="rId366"/>
    <p:sldLayoutId id="2147484438" r:id="rId367"/>
    <p:sldLayoutId id="2147484439" r:id="rId368"/>
    <p:sldLayoutId id="2147484440" r:id="rId369"/>
    <p:sldLayoutId id="2147484441" r:id="rId370"/>
    <p:sldLayoutId id="2147484442" r:id="rId371"/>
    <p:sldLayoutId id="2147484443" r:id="rId372"/>
    <p:sldLayoutId id="2147484444" r:id="rId373"/>
    <p:sldLayoutId id="2147484445" r:id="rId374"/>
    <p:sldLayoutId id="2147484446" r:id="rId375"/>
    <p:sldLayoutId id="2147484447" r:id="rId376"/>
    <p:sldLayoutId id="2147484448" r:id="rId377"/>
    <p:sldLayoutId id="2147484449" r:id="rId378"/>
    <p:sldLayoutId id="2147484450" r:id="rId379"/>
    <p:sldLayoutId id="2147484451" r:id="rId380"/>
    <p:sldLayoutId id="2147484452" r:id="rId381"/>
    <p:sldLayoutId id="2147484453" r:id="rId382"/>
    <p:sldLayoutId id="2147484454" r:id="rId383"/>
    <p:sldLayoutId id="2147484455" r:id="rId384"/>
    <p:sldLayoutId id="2147484456" r:id="rId385"/>
    <p:sldLayoutId id="2147484457" r:id="rId386"/>
    <p:sldLayoutId id="2147484458" r:id="rId387"/>
    <p:sldLayoutId id="2147484459" r:id="rId388"/>
    <p:sldLayoutId id="2147484460" r:id="rId389"/>
    <p:sldLayoutId id="2147484461" r:id="rId390"/>
    <p:sldLayoutId id="2147484462" r:id="rId391"/>
    <p:sldLayoutId id="2147484463" r:id="rId392"/>
    <p:sldLayoutId id="2147484464" r:id="rId393"/>
    <p:sldLayoutId id="2147484465" r:id="rId394"/>
    <p:sldLayoutId id="2147484466" r:id="rId395"/>
    <p:sldLayoutId id="2147484467" r:id="rId396"/>
    <p:sldLayoutId id="2147484468" r:id="rId397"/>
    <p:sldLayoutId id="2147484469" r:id="rId398"/>
    <p:sldLayoutId id="2147484470" r:id="rId399"/>
    <p:sldLayoutId id="2147484471" r:id="rId400"/>
    <p:sldLayoutId id="2147484472" r:id="rId401"/>
    <p:sldLayoutId id="2147484473" r:id="rId402"/>
    <p:sldLayoutId id="2147484474" r:id="rId403"/>
    <p:sldLayoutId id="2147484475" r:id="rId404"/>
    <p:sldLayoutId id="2147484476" r:id="rId405"/>
    <p:sldLayoutId id="2147485692" r:id="rId406"/>
    <p:sldLayoutId id="2147485693" r:id="rId407"/>
    <p:sldLayoutId id="2147484479" r:id="rId408"/>
    <p:sldLayoutId id="2147484480" r:id="rId409"/>
    <p:sldLayoutId id="2147484481" r:id="rId410"/>
    <p:sldLayoutId id="2147484482" r:id="rId411"/>
    <p:sldLayoutId id="2147485695" r:id="rId412"/>
    <p:sldLayoutId id="2147484484" r:id="rId413"/>
    <p:sldLayoutId id="2147485689" r:id="rId414"/>
    <p:sldLayoutId id="2147485690" r:id="rId415"/>
    <p:sldLayoutId id="2147484487" r:id="rId416"/>
    <p:sldLayoutId id="2147485656" r:id="rId417"/>
    <p:sldLayoutId id="2147484489" r:id="rId418"/>
    <p:sldLayoutId id="2147484490" r:id="rId419"/>
    <p:sldLayoutId id="2147484491" r:id="rId420"/>
    <p:sldLayoutId id="2147484492" r:id="rId421"/>
    <p:sldLayoutId id="2147484493" r:id="rId422"/>
    <p:sldLayoutId id="2147484494" r:id="rId423"/>
    <p:sldLayoutId id="2147484495" r:id="rId424"/>
    <p:sldLayoutId id="2147484496" r:id="rId425"/>
    <p:sldLayoutId id="2147484497" r:id="rId426"/>
    <p:sldLayoutId id="2147484498" r:id="rId427"/>
    <p:sldLayoutId id="2147484499" r:id="rId428"/>
    <p:sldLayoutId id="2147484500" r:id="rId429"/>
    <p:sldLayoutId id="2147484501" r:id="rId430"/>
    <p:sldLayoutId id="2147484502" r:id="rId431"/>
    <p:sldLayoutId id="2147484503" r:id="rId432"/>
    <p:sldLayoutId id="2147484504" r:id="rId433"/>
    <p:sldLayoutId id="2147484505" r:id="rId434"/>
    <p:sldLayoutId id="2147484506" r:id="rId435"/>
    <p:sldLayoutId id="2147484507" r:id="rId436"/>
    <p:sldLayoutId id="2147484508" r:id="rId437"/>
    <p:sldLayoutId id="2147484509" r:id="rId438"/>
    <p:sldLayoutId id="2147484510" r:id="rId439"/>
    <p:sldLayoutId id="2147484511" r:id="rId440"/>
    <p:sldLayoutId id="2147484512" r:id="rId441"/>
    <p:sldLayoutId id="2147484513" r:id="rId442"/>
    <p:sldLayoutId id="2147484514" r:id="rId443"/>
    <p:sldLayoutId id="2147484515" r:id="rId444"/>
    <p:sldLayoutId id="2147484516" r:id="rId445"/>
    <p:sldLayoutId id="2147484517" r:id="rId446"/>
    <p:sldLayoutId id="2147484518" r:id="rId447"/>
    <p:sldLayoutId id="2147484519" r:id="rId448"/>
    <p:sldLayoutId id="2147484520" r:id="rId449"/>
    <p:sldLayoutId id="2147484521" r:id="rId450"/>
    <p:sldLayoutId id="2147484522" r:id="rId451"/>
    <p:sldLayoutId id="2147484523" r:id="rId452"/>
    <p:sldLayoutId id="2147484524" r:id="rId453"/>
    <p:sldLayoutId id="2147484525" r:id="rId454"/>
    <p:sldLayoutId id="2147484526" r:id="rId455"/>
    <p:sldLayoutId id="2147484527" r:id="rId456"/>
    <p:sldLayoutId id="2147484528" r:id="rId457"/>
    <p:sldLayoutId id="2147484529" r:id="rId458"/>
    <p:sldLayoutId id="2147484530" r:id="rId459"/>
    <p:sldLayoutId id="2147484531" r:id="rId460"/>
    <p:sldLayoutId id="2147484532" r:id="rId461"/>
    <p:sldLayoutId id="2147484533" r:id="rId462"/>
    <p:sldLayoutId id="2147484534" r:id="rId463"/>
    <p:sldLayoutId id="2147484535" r:id="rId464"/>
    <p:sldLayoutId id="2147484536" r:id="rId465"/>
    <p:sldLayoutId id="2147484537" r:id="rId466"/>
    <p:sldLayoutId id="2147484538" r:id="rId467"/>
    <p:sldLayoutId id="2147484539" r:id="rId468"/>
    <p:sldLayoutId id="2147484540" r:id="rId469"/>
    <p:sldLayoutId id="2147484541" r:id="rId470"/>
    <p:sldLayoutId id="2147484542" r:id="rId471"/>
    <p:sldLayoutId id="2147484543" r:id="rId472"/>
    <p:sldLayoutId id="2147484544" r:id="rId473"/>
    <p:sldLayoutId id="2147484545" r:id="rId474"/>
    <p:sldLayoutId id="2147484546" r:id="rId475"/>
    <p:sldLayoutId id="2147484547" r:id="rId476"/>
    <p:sldLayoutId id="2147484548" r:id="rId477"/>
    <p:sldLayoutId id="2147484549" r:id="rId478"/>
    <p:sldLayoutId id="2147484550" r:id="rId479"/>
    <p:sldLayoutId id="2147484551" r:id="rId480"/>
    <p:sldLayoutId id="2147484552" r:id="rId481"/>
    <p:sldLayoutId id="2147484553" r:id="rId482"/>
    <p:sldLayoutId id="2147484554" r:id="rId483"/>
    <p:sldLayoutId id="2147484555" r:id="rId484"/>
    <p:sldLayoutId id="2147484556" r:id="rId485"/>
    <p:sldLayoutId id="2147484557" r:id="rId486"/>
    <p:sldLayoutId id="2147484558" r:id="rId487"/>
    <p:sldLayoutId id="2147485731" r:id="rId488"/>
    <p:sldLayoutId id="2147484560" r:id="rId489"/>
    <p:sldLayoutId id="2147484561" r:id="rId490"/>
    <p:sldLayoutId id="2147484562" r:id="rId491"/>
    <p:sldLayoutId id="2147484563" r:id="rId492"/>
    <p:sldLayoutId id="2147484564" r:id="rId493"/>
    <p:sldLayoutId id="2147484565" r:id="rId494"/>
    <p:sldLayoutId id="2147485737" r:id="rId495"/>
    <p:sldLayoutId id="2147484567" r:id="rId496"/>
    <p:sldLayoutId id="2147484568" r:id="rId497"/>
    <p:sldLayoutId id="2147484569" r:id="rId498"/>
    <p:sldLayoutId id="2147485670" r:id="rId499"/>
    <p:sldLayoutId id="2147484571" r:id="rId500"/>
    <p:sldLayoutId id="2147485709" r:id="rId501"/>
    <p:sldLayoutId id="2147484573" r:id="rId502"/>
    <p:sldLayoutId id="2147484574" r:id="rId503"/>
    <p:sldLayoutId id="2147484575" r:id="rId504"/>
    <p:sldLayoutId id="2147484576" r:id="rId505"/>
    <p:sldLayoutId id="2147484577" r:id="rId50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5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7" name="Google Shape;9547;p1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9548" name="Google Shape;9548;p119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549" name="Google Shape;9549;p1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550" name="Google Shape;9550;p1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5591" r:id="rId1"/>
    <p:sldLayoutId id="2147484599" r:id="rId2"/>
    <p:sldLayoutId id="2147484600" r:id="rId3"/>
    <p:sldLayoutId id="2147485596" r:id="rId4"/>
    <p:sldLayoutId id="2147485597" r:id="rId5"/>
    <p:sldLayoutId id="2147485598" r:id="rId6"/>
    <p:sldLayoutId id="2147485599" r:id="rId7"/>
    <p:sldLayoutId id="2147485704" r:id="rId8"/>
    <p:sldLayoutId id="2147484606" r:id="rId9"/>
    <p:sldLayoutId id="2147485702" r:id="rId10"/>
    <p:sldLayoutId id="2147485703" r:id="rId11"/>
    <p:sldLayoutId id="2147485691" r:id="rId12"/>
    <p:sldLayoutId id="2147484610" r:id="rId13"/>
    <p:sldLayoutId id="2147484612" r:id="rId14"/>
    <p:sldLayoutId id="2147484613" r:id="rId15"/>
    <p:sldLayoutId id="2147484614" r:id="rId16"/>
    <p:sldLayoutId id="2147484615" r:id="rId17"/>
    <p:sldLayoutId id="2147484616" r:id="rId18"/>
    <p:sldLayoutId id="2147484617" r:id="rId19"/>
    <p:sldLayoutId id="2147484618" r:id="rId20"/>
    <p:sldLayoutId id="2147484619" r:id="rId21"/>
    <p:sldLayoutId id="2147484620" r:id="rId22"/>
    <p:sldLayoutId id="2147484621" r:id="rId23"/>
    <p:sldLayoutId id="2147484622" r:id="rId24"/>
    <p:sldLayoutId id="2147484623" r:id="rId25"/>
    <p:sldLayoutId id="2147484624" r:id="rId26"/>
    <p:sldLayoutId id="2147484625" r:id="rId27"/>
    <p:sldLayoutId id="2147485593" r:id="rId28"/>
    <p:sldLayoutId id="2147485605" r:id="rId29"/>
    <p:sldLayoutId id="2147484628" r:id="rId30"/>
    <p:sldLayoutId id="2147484629" r:id="rId31"/>
    <p:sldLayoutId id="2147484630" r:id="rId32"/>
    <p:sldLayoutId id="2147484631" r:id="rId33"/>
    <p:sldLayoutId id="2147484632" r:id="rId34"/>
    <p:sldLayoutId id="2147484633" r:id="rId35"/>
    <p:sldLayoutId id="2147485606" r:id="rId36"/>
    <p:sldLayoutId id="2147484635" r:id="rId37"/>
    <p:sldLayoutId id="2147484636" r:id="rId38"/>
    <p:sldLayoutId id="2147484637" r:id="rId39"/>
    <p:sldLayoutId id="2147484638" r:id="rId40"/>
    <p:sldLayoutId id="2147484639" r:id="rId41"/>
    <p:sldLayoutId id="2147484640" r:id="rId42"/>
    <p:sldLayoutId id="2147484641" r:id="rId43"/>
    <p:sldLayoutId id="2147484642" r:id="rId44"/>
    <p:sldLayoutId id="2147484643" r:id="rId45"/>
    <p:sldLayoutId id="2147484644" r:id="rId46"/>
    <p:sldLayoutId id="2147484645" r:id="rId47"/>
    <p:sldLayoutId id="2147484646" r:id="rId48"/>
    <p:sldLayoutId id="2147484647" r:id="rId49"/>
    <p:sldLayoutId id="2147484648" r:id="rId50"/>
    <p:sldLayoutId id="2147484649" r:id="rId51"/>
    <p:sldLayoutId id="2147484650" r:id="rId52"/>
    <p:sldLayoutId id="2147484651" r:id="rId53"/>
    <p:sldLayoutId id="2147485698" r:id="rId54"/>
    <p:sldLayoutId id="2147485699" r:id="rId55"/>
    <p:sldLayoutId id="2147485700" r:id="rId56"/>
    <p:sldLayoutId id="2147485701" r:id="rId57"/>
    <p:sldLayoutId id="2147484656" r:id="rId58"/>
    <p:sldLayoutId id="2147484657" r:id="rId59"/>
    <p:sldLayoutId id="2147484658" r:id="rId60"/>
    <p:sldLayoutId id="2147484659" r:id="rId61"/>
    <p:sldLayoutId id="2147484660" r:id="rId62"/>
    <p:sldLayoutId id="2147484661" r:id="rId63"/>
    <p:sldLayoutId id="2147484662" r:id="rId64"/>
    <p:sldLayoutId id="2147484663" r:id="rId65"/>
    <p:sldLayoutId id="2147484664" r:id="rId66"/>
    <p:sldLayoutId id="2147484665" r:id="rId67"/>
    <p:sldLayoutId id="2147484666" r:id="rId68"/>
    <p:sldLayoutId id="2147484667" r:id="rId69"/>
    <p:sldLayoutId id="2147484668" r:id="rId70"/>
    <p:sldLayoutId id="2147484669" r:id="rId71"/>
    <p:sldLayoutId id="2147484670" r:id="rId72"/>
    <p:sldLayoutId id="2147484671" r:id="rId73"/>
    <p:sldLayoutId id="2147484672" r:id="rId74"/>
    <p:sldLayoutId id="2147484673" r:id="rId75"/>
    <p:sldLayoutId id="2147484674" r:id="rId76"/>
    <p:sldLayoutId id="2147484675" r:id="rId77"/>
    <p:sldLayoutId id="2147484676" r:id="rId78"/>
    <p:sldLayoutId id="2147484677" r:id="rId79"/>
    <p:sldLayoutId id="2147484678" r:id="rId80"/>
    <p:sldLayoutId id="2147484679" r:id="rId81"/>
    <p:sldLayoutId id="2147484680" r:id="rId82"/>
    <p:sldLayoutId id="2147484681" r:id="rId83"/>
    <p:sldLayoutId id="2147484682" r:id="rId84"/>
    <p:sldLayoutId id="2147484683" r:id="rId85"/>
    <p:sldLayoutId id="2147484684" r:id="rId86"/>
    <p:sldLayoutId id="2147484685" r:id="rId87"/>
    <p:sldLayoutId id="2147484686" r:id="rId88"/>
    <p:sldLayoutId id="2147484687" r:id="rId89"/>
    <p:sldLayoutId id="2147484688" r:id="rId90"/>
    <p:sldLayoutId id="2147484689" r:id="rId91"/>
    <p:sldLayoutId id="2147484690" r:id="rId92"/>
    <p:sldLayoutId id="2147484691" r:id="rId93"/>
    <p:sldLayoutId id="2147484692" r:id="rId94"/>
    <p:sldLayoutId id="2147484693" r:id="rId95"/>
    <p:sldLayoutId id="2147484694" r:id="rId96"/>
    <p:sldLayoutId id="2147484695" r:id="rId97"/>
    <p:sldLayoutId id="2147484696" r:id="rId98"/>
    <p:sldLayoutId id="2147484697" r:id="rId99"/>
    <p:sldLayoutId id="2147484698" r:id="rId100"/>
    <p:sldLayoutId id="2147484699" r:id="rId101"/>
    <p:sldLayoutId id="2147484700" r:id="rId102"/>
    <p:sldLayoutId id="2147484701" r:id="rId103"/>
    <p:sldLayoutId id="2147484702" r:id="rId104"/>
    <p:sldLayoutId id="2147484703" r:id="rId105"/>
    <p:sldLayoutId id="2147484704" r:id="rId106"/>
    <p:sldLayoutId id="2147484705" r:id="rId107"/>
    <p:sldLayoutId id="2147484706" r:id="rId108"/>
    <p:sldLayoutId id="2147484707" r:id="rId109"/>
    <p:sldLayoutId id="2147484708" r:id="rId110"/>
    <p:sldLayoutId id="2147484709" r:id="rId111"/>
    <p:sldLayoutId id="2147484710" r:id="rId112"/>
    <p:sldLayoutId id="2147484711" r:id="rId113"/>
    <p:sldLayoutId id="2147484712" r:id="rId114"/>
    <p:sldLayoutId id="2147484713" r:id="rId115"/>
    <p:sldLayoutId id="2147484714" r:id="rId116"/>
    <p:sldLayoutId id="2147484715" r:id="rId117"/>
    <p:sldLayoutId id="2147484716" r:id="rId118"/>
    <p:sldLayoutId id="2147484717" r:id="rId119"/>
    <p:sldLayoutId id="2147484718" r:id="rId120"/>
    <p:sldLayoutId id="2147484719" r:id="rId121"/>
    <p:sldLayoutId id="2147484720" r:id="rId122"/>
    <p:sldLayoutId id="2147484721" r:id="rId123"/>
    <p:sldLayoutId id="2147484722" r:id="rId124"/>
    <p:sldLayoutId id="2147484723" r:id="rId125"/>
    <p:sldLayoutId id="2147484724" r:id="rId126"/>
    <p:sldLayoutId id="2147484725" r:id="rId127"/>
    <p:sldLayoutId id="2147484726" r:id="rId128"/>
    <p:sldLayoutId id="2147484727" r:id="rId129"/>
    <p:sldLayoutId id="2147484728" r:id="rId130"/>
    <p:sldLayoutId id="2147484729" r:id="rId131"/>
    <p:sldLayoutId id="2147484730" r:id="rId132"/>
    <p:sldLayoutId id="2147484731" r:id="rId133"/>
    <p:sldLayoutId id="2147484732" r:id="rId134"/>
    <p:sldLayoutId id="2147484733" r:id="rId135"/>
    <p:sldLayoutId id="2147484734" r:id="rId136"/>
    <p:sldLayoutId id="2147484735" r:id="rId137"/>
    <p:sldLayoutId id="2147484736" r:id="rId138"/>
    <p:sldLayoutId id="2147484737" r:id="rId139"/>
    <p:sldLayoutId id="2147484738" r:id="rId140"/>
    <p:sldLayoutId id="2147484739" r:id="rId141"/>
    <p:sldLayoutId id="2147484740" r:id="rId142"/>
    <p:sldLayoutId id="2147484741" r:id="rId143"/>
    <p:sldLayoutId id="2147484742" r:id="rId144"/>
    <p:sldLayoutId id="2147484743" r:id="rId145"/>
    <p:sldLayoutId id="2147484744" r:id="rId146"/>
    <p:sldLayoutId id="2147484745" r:id="rId147"/>
    <p:sldLayoutId id="2147484746" r:id="rId148"/>
    <p:sldLayoutId id="2147484747" r:id="rId149"/>
    <p:sldLayoutId id="2147484748" r:id="rId150"/>
    <p:sldLayoutId id="2147484749" r:id="rId151"/>
    <p:sldLayoutId id="2147484750" r:id="rId152"/>
    <p:sldLayoutId id="2147484751" r:id="rId153"/>
    <p:sldLayoutId id="2147484752" r:id="rId154"/>
    <p:sldLayoutId id="2147484753" r:id="rId155"/>
    <p:sldLayoutId id="2147484754" r:id="rId156"/>
    <p:sldLayoutId id="2147484755" r:id="rId157"/>
    <p:sldLayoutId id="2147484756" r:id="rId158"/>
    <p:sldLayoutId id="2147484757" r:id="rId159"/>
    <p:sldLayoutId id="2147484758" r:id="rId160"/>
    <p:sldLayoutId id="2147484759" r:id="rId161"/>
    <p:sldLayoutId id="2147484760" r:id="rId162"/>
    <p:sldLayoutId id="2147484761" r:id="rId163"/>
    <p:sldLayoutId id="2147484762" r:id="rId164"/>
    <p:sldLayoutId id="2147484763" r:id="rId165"/>
    <p:sldLayoutId id="2147484764" r:id="rId166"/>
    <p:sldLayoutId id="2147484765" r:id="rId167"/>
    <p:sldLayoutId id="2147484766" r:id="rId168"/>
    <p:sldLayoutId id="2147484767" r:id="rId169"/>
    <p:sldLayoutId id="2147484768" r:id="rId170"/>
    <p:sldLayoutId id="2147484769" r:id="rId171"/>
    <p:sldLayoutId id="2147484770" r:id="rId172"/>
    <p:sldLayoutId id="2147484771" r:id="rId173"/>
    <p:sldLayoutId id="2147484772" r:id="rId174"/>
    <p:sldLayoutId id="2147484773" r:id="rId175"/>
    <p:sldLayoutId id="2147484774" r:id="rId176"/>
    <p:sldLayoutId id="2147484775" r:id="rId177"/>
    <p:sldLayoutId id="2147484776" r:id="rId178"/>
    <p:sldLayoutId id="2147484777" r:id="rId179"/>
    <p:sldLayoutId id="2147484778" r:id="rId180"/>
    <p:sldLayoutId id="2147484779" r:id="rId181"/>
    <p:sldLayoutId id="2147484780" r:id="rId182"/>
    <p:sldLayoutId id="2147484781" r:id="rId183"/>
    <p:sldLayoutId id="2147484782" r:id="rId184"/>
    <p:sldLayoutId id="2147484783" r:id="rId185"/>
    <p:sldLayoutId id="2147484784" r:id="rId186"/>
    <p:sldLayoutId id="2147484785" r:id="rId187"/>
    <p:sldLayoutId id="2147484786" r:id="rId188"/>
    <p:sldLayoutId id="2147484787" r:id="rId189"/>
    <p:sldLayoutId id="2147484788" r:id="rId190"/>
    <p:sldLayoutId id="2147484789" r:id="rId191"/>
    <p:sldLayoutId id="2147484790" r:id="rId192"/>
    <p:sldLayoutId id="2147484791" r:id="rId193"/>
    <p:sldLayoutId id="2147484792" r:id="rId194"/>
    <p:sldLayoutId id="2147484793" r:id="rId195"/>
    <p:sldLayoutId id="2147484794" r:id="rId196"/>
    <p:sldLayoutId id="2147484795" r:id="rId197"/>
    <p:sldLayoutId id="2147484796" r:id="rId198"/>
    <p:sldLayoutId id="2147484797" r:id="rId199"/>
    <p:sldLayoutId id="2147484798" r:id="rId200"/>
    <p:sldLayoutId id="2147484799" r:id="rId201"/>
    <p:sldLayoutId id="2147484800" r:id="rId202"/>
    <p:sldLayoutId id="2147484801" r:id="rId203"/>
    <p:sldLayoutId id="2147484802" r:id="rId204"/>
    <p:sldLayoutId id="2147484803" r:id="rId205"/>
    <p:sldLayoutId id="2147484804" r:id="rId206"/>
    <p:sldLayoutId id="2147484805" r:id="rId207"/>
    <p:sldLayoutId id="2147484806" r:id="rId208"/>
    <p:sldLayoutId id="2147484807" r:id="rId209"/>
    <p:sldLayoutId id="2147484808" r:id="rId210"/>
    <p:sldLayoutId id="2147484809" r:id="rId211"/>
    <p:sldLayoutId id="2147484810" r:id="rId212"/>
    <p:sldLayoutId id="2147484811" r:id="rId213"/>
    <p:sldLayoutId id="2147484812" r:id="rId214"/>
    <p:sldLayoutId id="2147485680" r:id="rId215"/>
    <p:sldLayoutId id="2147484814" r:id="rId216"/>
    <p:sldLayoutId id="2147485682" r:id="rId217"/>
    <p:sldLayoutId id="2147485683" r:id="rId218"/>
    <p:sldLayoutId id="2147485684" r:id="rId219"/>
    <p:sldLayoutId id="2147484818" r:id="rId220"/>
    <p:sldLayoutId id="2147484819" r:id="rId221"/>
    <p:sldLayoutId id="2147484820" r:id="rId222"/>
    <p:sldLayoutId id="2147485643" r:id="rId223"/>
    <p:sldLayoutId id="2147485651" r:id="rId224"/>
    <p:sldLayoutId id="2147484823" r:id="rId225"/>
    <p:sldLayoutId id="2147484824" r:id="rId226"/>
    <p:sldLayoutId id="2147484825" r:id="rId227"/>
    <p:sldLayoutId id="2147484826" r:id="rId228"/>
    <p:sldLayoutId id="2147484827" r:id="rId229"/>
    <p:sldLayoutId id="2147484828" r:id="rId230"/>
    <p:sldLayoutId id="2147485625" r:id="rId23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11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1" name="Google Shape;11871;p6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872" name="Google Shape;11872;p66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873" name="Google Shape;11873;p6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5627" r:id="rId1"/>
    <p:sldLayoutId id="2147485629" r:id="rId2"/>
    <p:sldLayoutId id="2147485705" r:id="rId3"/>
    <p:sldLayoutId id="2147485706" r:id="rId4"/>
    <p:sldLayoutId id="2147485592" r:id="rId5"/>
    <p:sldLayoutId id="2147485594" r:id="rId6"/>
    <p:sldLayoutId id="2147485595" r:id="rId7"/>
    <p:sldLayoutId id="2147485732" r:id="rId8"/>
    <p:sldLayoutId id="2147485600" r:id="rId9"/>
    <p:sldLayoutId id="2147485733" r:id="rId10"/>
    <p:sldLayoutId id="2147485615" r:id="rId11"/>
    <p:sldLayoutId id="2147485616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9274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4" r:id="rId1"/>
    <p:sldLayoutId id="2147485075" r:id="rId2"/>
    <p:sldLayoutId id="2147485076" r:id="rId3"/>
    <p:sldLayoutId id="2147485743" r:id="rId4"/>
    <p:sldLayoutId id="2147485078" r:id="rId5"/>
    <p:sldLayoutId id="2147485079" r:id="rId6"/>
    <p:sldLayoutId id="2147485080" r:id="rId7"/>
    <p:sldLayoutId id="2147485081" r:id="rId8"/>
    <p:sldLayoutId id="2147485082" r:id="rId9"/>
    <p:sldLayoutId id="2147485083" r:id="rId10"/>
    <p:sldLayoutId id="2147484596" r:id="rId11"/>
    <p:sldLayoutId id="2147484835" r:id="rId12"/>
    <p:sldLayoutId id="2147484598" r:id="rId13"/>
    <p:sldLayoutId id="2147485744" r:id="rId14"/>
    <p:sldLayoutId id="2147484836" r:id="rId15"/>
    <p:sldLayoutId id="2147484837" r:id="rId16"/>
    <p:sldLayoutId id="2147484601" r:id="rId17"/>
    <p:sldLayoutId id="2147484602" r:id="rId18"/>
    <p:sldLayoutId id="2147484603" r:id="rId19"/>
    <p:sldLayoutId id="2147484604" r:id="rId20"/>
    <p:sldLayoutId id="2147485745" r:id="rId21"/>
    <p:sldLayoutId id="2147485538" r:id="rId22"/>
    <p:sldLayoutId id="2147485539" r:id="rId23"/>
    <p:sldLayoutId id="2147485540" r:id="rId24"/>
    <p:sldLayoutId id="2147485746" r:id="rId25"/>
    <p:sldLayoutId id="2147484844" r:id="rId26"/>
    <p:sldLayoutId id="2147485637" r:id="rId27"/>
    <p:sldLayoutId id="2147485638" r:id="rId28"/>
    <p:sldLayoutId id="2147485738" r:id="rId29"/>
    <p:sldLayoutId id="2147485645" r:id="rId30"/>
    <p:sldLayoutId id="2147485652" r:id="rId31"/>
    <p:sldLayoutId id="2147485655" r:id="rId32"/>
    <p:sldLayoutId id="2147485657" r:id="rId33"/>
    <p:sldLayoutId id="2147485661" r:id="rId34"/>
    <p:sldLayoutId id="2147485662" r:id="rId35"/>
    <p:sldLayoutId id="2147485739" r:id="rId36"/>
    <p:sldLayoutId id="2147485740" r:id="rId37"/>
    <p:sldLayoutId id="2147485741" r:id="rId38"/>
    <p:sldLayoutId id="2147485742" r:id="rId39"/>
    <p:sldLayoutId id="2147484858" r:id="rId40"/>
    <p:sldLayoutId id="2147484859" r:id="rId41"/>
    <p:sldLayoutId id="2147484860" r:id="rId42"/>
    <p:sldLayoutId id="2147484861" r:id="rId43"/>
    <p:sldLayoutId id="2147484862" r:id="rId44"/>
    <p:sldLayoutId id="2147484863" r:id="rId45"/>
    <p:sldLayoutId id="2147484864" r:id="rId46"/>
    <p:sldLayoutId id="2147484865" r:id="rId47"/>
    <p:sldLayoutId id="2147485070" r:id="rId48"/>
    <p:sldLayoutId id="2147484870" r:id="rId49"/>
    <p:sldLayoutId id="2147484871" r:id="rId50"/>
    <p:sldLayoutId id="2147484872" r:id="rId51"/>
    <p:sldLayoutId id="2147485069" r:id="rId52"/>
    <p:sldLayoutId id="2147485753" r:id="rId53"/>
    <p:sldLayoutId id="2147484873" r:id="rId54"/>
    <p:sldLayoutId id="2147485553" r:id="rId55"/>
    <p:sldLayoutId id="2147485554" r:id="rId56"/>
    <p:sldLayoutId id="2147485555" r:id="rId57"/>
    <p:sldLayoutId id="2147485754" r:id="rId58"/>
    <p:sldLayoutId id="2147485755" r:id="rId59"/>
    <p:sldLayoutId id="2147484362" r:id="rId60"/>
    <p:sldLayoutId id="2147484363" r:id="rId61"/>
    <p:sldLayoutId id="2147485557" r:id="rId62"/>
    <p:sldLayoutId id="2147484365" r:id="rId63"/>
    <p:sldLayoutId id="2147484366" r:id="rId64"/>
    <p:sldLayoutId id="2147484367" r:id="rId65"/>
    <p:sldLayoutId id="2147485566" r:id="rId66"/>
    <p:sldLayoutId id="2147484351" r:id="rId67"/>
    <p:sldLayoutId id="2147484350" r:id="rId68"/>
    <p:sldLayoutId id="2147484352" r:id="rId69"/>
    <p:sldLayoutId id="2147484829" r:id="rId70"/>
    <p:sldLayoutId id="2147484830" r:id="rId71"/>
    <p:sldLayoutId id="2147484831" r:id="rId72"/>
    <p:sldLayoutId id="2147485756" r:id="rId73"/>
    <p:sldLayoutId id="2147485262" r:id="rId74"/>
    <p:sldLayoutId id="2147484832" r:id="rId75"/>
    <p:sldLayoutId id="2147484355" r:id="rId76"/>
    <p:sldLayoutId id="2147485444" r:id="rId77"/>
    <p:sldLayoutId id="2147484356" r:id="rId78"/>
    <p:sldLayoutId id="2147485757" r:id="rId79"/>
    <p:sldLayoutId id="2147485758" r:id="rId80"/>
    <p:sldLayoutId id="2147484875" r:id="rId81"/>
    <p:sldLayoutId id="2147484876" r:id="rId82"/>
    <p:sldLayoutId id="2147484877" r:id="rId83"/>
    <p:sldLayoutId id="2147484254" r:id="rId84"/>
    <p:sldLayoutId id="2147485760" r:id="rId85"/>
    <p:sldLayoutId id="2147484883" r:id="rId86"/>
    <p:sldLayoutId id="2147485761" r:id="rId87"/>
    <p:sldLayoutId id="2147484886" r:id="rId88"/>
    <p:sldLayoutId id="2147484887" r:id="rId89"/>
    <p:sldLayoutId id="2147484888" r:id="rId90"/>
    <p:sldLayoutId id="2147484251" r:id="rId91"/>
    <p:sldLayoutId id="2147484890" r:id="rId92"/>
    <p:sldLayoutId id="2147485763" r:id="rId93"/>
    <p:sldLayoutId id="2147485764" r:id="rId94"/>
    <p:sldLayoutId id="2147485765" r:id="rId95"/>
    <p:sldLayoutId id="2147485766" r:id="rId96"/>
    <p:sldLayoutId id="2147484897" r:id="rId97"/>
    <p:sldLayoutId id="2147484898" r:id="rId98"/>
    <p:sldLayoutId id="2147484899" r:id="rId99"/>
    <p:sldLayoutId id="2147484900" r:id="rId100"/>
    <p:sldLayoutId id="2147484634" r:id="rId101"/>
    <p:sldLayoutId id="2147484902" r:id="rId102"/>
    <p:sldLayoutId id="2147484238" r:id="rId103"/>
    <p:sldLayoutId id="2147484200" r:id="rId104"/>
    <p:sldLayoutId id="2147485751" r:id="rId105"/>
    <p:sldLayoutId id="2147484903" r:id="rId106"/>
    <p:sldLayoutId id="2147484258" r:id="rId107"/>
    <p:sldLayoutId id="2147484257" r:id="rId108"/>
    <p:sldLayoutId id="2147485759" r:id="rId109"/>
    <p:sldLayoutId id="2147484908" r:id="rId110"/>
    <p:sldLayoutId id="2147484909" r:id="rId111"/>
    <p:sldLayoutId id="2147484910" r:id="rId112"/>
    <p:sldLayoutId id="2147484911" r:id="rId113"/>
    <p:sldLayoutId id="2147485546" r:id="rId114"/>
    <p:sldLayoutId id="2147484913" r:id="rId115"/>
    <p:sldLayoutId id="2147484384" r:id="rId116"/>
    <p:sldLayoutId id="2147485405" r:id="rId117"/>
    <p:sldLayoutId id="2147485747" r:id="rId118"/>
    <p:sldLayoutId id="2147484385" r:id="rId119"/>
    <p:sldLayoutId id="2147485748" r:id="rId120"/>
    <p:sldLayoutId id="2147484919" r:id="rId121"/>
    <p:sldLayoutId id="2147484920" r:id="rId122"/>
    <p:sldLayoutId id="2147484921" r:id="rId123"/>
    <p:sldLayoutId id="2147484922" r:id="rId124"/>
    <p:sldLayoutId id="2147484391" r:id="rId125"/>
    <p:sldLayoutId id="2147484924" r:id="rId126"/>
    <p:sldLayoutId id="2147484353" r:id="rId127"/>
    <p:sldLayoutId id="2147484627" r:id="rId128"/>
    <p:sldLayoutId id="2147485564" r:id="rId129"/>
    <p:sldLayoutId id="2147485749" r:id="rId130"/>
    <p:sldLayoutId id="2147485750" r:id="rId131"/>
    <p:sldLayoutId id="2147484928" r:id="rId132"/>
    <p:sldLayoutId id="2147484929" r:id="rId133"/>
    <p:sldLayoutId id="2147484930" r:id="rId134"/>
    <p:sldLayoutId id="2147484205" r:id="rId135"/>
    <p:sldLayoutId id="2147484206" r:id="rId136"/>
    <p:sldLayoutId id="2147484933" r:id="rId137"/>
    <p:sldLayoutId id="2147484934" r:id="rId138"/>
    <p:sldLayoutId id="2147485064" r:id="rId139"/>
    <p:sldLayoutId id="2147485065" r:id="rId140"/>
    <p:sldLayoutId id="2147485752" r:id="rId141"/>
    <p:sldLayoutId id="2147485215" r:id="rId142"/>
    <p:sldLayoutId id="2147485425" r:id="rId143"/>
    <p:sldLayoutId id="2147485781" r:id="rId144"/>
    <p:sldLayoutId id="2147485782" r:id="rId145"/>
    <p:sldLayoutId id="2147485391" r:id="rId146"/>
    <p:sldLayoutId id="2147485392" r:id="rId147"/>
    <p:sldLayoutId id="2147484376" r:id="rId148"/>
    <p:sldLayoutId id="2147485783" r:id="rId149"/>
    <p:sldLayoutId id="2147485784" r:id="rId150"/>
    <p:sldLayoutId id="2147484941" r:id="rId151"/>
    <p:sldLayoutId id="2147484942" r:id="rId152"/>
    <p:sldLayoutId id="2147484943" r:id="rId153"/>
    <p:sldLayoutId id="2147484944" r:id="rId154"/>
    <p:sldLayoutId id="2147485277" r:id="rId155"/>
    <p:sldLayoutId id="2147484946" r:id="rId156"/>
    <p:sldLayoutId id="2147483877" r:id="rId157"/>
    <p:sldLayoutId id="2147483878" r:id="rId158"/>
    <p:sldLayoutId id="2147484652" r:id="rId159"/>
    <p:sldLayoutId id="2147484653" r:id="rId160"/>
    <p:sldLayoutId id="2147484654" r:id="rId161"/>
    <p:sldLayoutId id="2147484655" r:id="rId162"/>
    <p:sldLayoutId id="2147484607" r:id="rId163"/>
    <p:sldLayoutId id="2147484608" r:id="rId164"/>
    <p:sldLayoutId id="2147484605" r:id="rId165"/>
    <p:sldLayoutId id="2147484833" r:id="rId166"/>
    <p:sldLayoutId id="2147484834" r:id="rId167"/>
    <p:sldLayoutId id="2147484349" r:id="rId168"/>
    <p:sldLayoutId id="2147484947" r:id="rId169"/>
    <p:sldLayoutId id="2147485776" r:id="rId170"/>
    <p:sldLayoutId id="2147485777" r:id="rId171"/>
    <p:sldLayoutId id="2147484954" r:id="rId172"/>
    <p:sldLayoutId id="2147484955" r:id="rId173"/>
    <p:sldLayoutId id="2147484956" r:id="rId174"/>
    <p:sldLayoutId id="2147484957" r:id="rId175"/>
    <p:sldLayoutId id="2147484393" r:id="rId176"/>
    <p:sldLayoutId id="2147484959" r:id="rId177"/>
    <p:sldLayoutId id="2147484963" r:id="rId178"/>
    <p:sldLayoutId id="2147485762" r:id="rId179"/>
    <p:sldLayoutId id="2147484231" r:id="rId180"/>
    <p:sldLayoutId id="2147484268" r:id="rId181"/>
    <p:sldLayoutId id="2147484235" r:id="rId182"/>
    <p:sldLayoutId id="2147485767" r:id="rId183"/>
    <p:sldLayoutId id="2147484970" r:id="rId184"/>
    <p:sldLayoutId id="2147484971" r:id="rId185"/>
    <p:sldLayoutId id="2147484972" r:id="rId186"/>
    <p:sldLayoutId id="2147484973" r:id="rId187"/>
    <p:sldLayoutId id="2147483721" r:id="rId188"/>
    <p:sldLayoutId id="2147484975" r:id="rId189"/>
    <p:sldLayoutId id="2147484821" r:id="rId190"/>
    <p:sldLayoutId id="2147483716" r:id="rId191"/>
    <p:sldLayoutId id="2147485239" r:id="rId192"/>
    <p:sldLayoutId id="2147485768" r:id="rId193"/>
    <p:sldLayoutId id="2147483717" r:id="rId194"/>
    <p:sldLayoutId id="2147483718" r:id="rId195"/>
    <p:sldLayoutId id="2147484400" r:id="rId196"/>
    <p:sldLayoutId id="2147484401" r:id="rId197"/>
    <p:sldLayoutId id="2147484402" r:id="rId198"/>
    <p:sldLayoutId id="2147484822" r:id="rId199"/>
    <p:sldLayoutId id="2147485769" r:id="rId200"/>
    <p:sldLayoutId id="2147484313" r:id="rId201"/>
    <p:sldLayoutId id="2147484315" r:id="rId202"/>
    <p:sldLayoutId id="2147485242" r:id="rId203"/>
    <p:sldLayoutId id="2147485263" r:id="rId204"/>
    <p:sldLayoutId id="2147485770" r:id="rId205"/>
    <p:sldLayoutId id="2147485243" r:id="rId206"/>
    <p:sldLayoutId id="2147485244" r:id="rId207"/>
    <p:sldLayoutId id="2147485245" r:id="rId208"/>
    <p:sldLayoutId id="2147484488" r:id="rId209"/>
    <p:sldLayoutId id="2147485246" r:id="rId210"/>
    <p:sldLayoutId id="2147485247" r:id="rId211"/>
    <p:sldLayoutId id="2147485771" r:id="rId212"/>
    <p:sldLayoutId id="2147485248" r:id="rId213"/>
    <p:sldLayoutId id="2147484335" r:id="rId214"/>
    <p:sldLayoutId id="2147484336" r:id="rId215"/>
    <p:sldLayoutId id="2147484337" r:id="rId216"/>
    <p:sldLayoutId id="2147485772" r:id="rId217"/>
    <p:sldLayoutId id="2147485773" r:id="rId218"/>
    <p:sldLayoutId id="2147484339" r:id="rId219"/>
    <p:sldLayoutId id="2147484340" r:id="rId220"/>
    <p:sldLayoutId id="2147484341" r:id="rId221"/>
    <p:sldLayoutId id="2147484342" r:id="rId222"/>
    <p:sldLayoutId id="2147484343" r:id="rId223"/>
    <p:sldLayoutId id="2147484344" r:id="rId224"/>
    <p:sldLayoutId id="2147485468" r:id="rId225"/>
    <p:sldLayoutId id="2147485556" r:id="rId226"/>
    <p:sldLayoutId id="2147484364" r:id="rId227"/>
    <p:sldLayoutId id="2147485774" r:id="rId228"/>
    <p:sldLayoutId id="2147484976" r:id="rId229"/>
    <p:sldLayoutId id="2147484977" r:id="rId230"/>
    <p:sldLayoutId id="2147484978" r:id="rId231"/>
    <p:sldLayoutId id="2147484979" r:id="rId232"/>
    <p:sldLayoutId id="2147484980" r:id="rId233"/>
    <p:sldLayoutId id="2147484981" r:id="rId234"/>
    <p:sldLayoutId id="2147484982" r:id="rId235"/>
    <p:sldLayoutId id="2147484983" r:id="rId236"/>
    <p:sldLayoutId id="2147484984" r:id="rId237"/>
    <p:sldLayoutId id="2147484985" r:id="rId238"/>
    <p:sldLayoutId id="2147484986" r:id="rId239"/>
    <p:sldLayoutId id="2147484988" r:id="rId240"/>
    <p:sldLayoutId id="2147484989" r:id="rId241"/>
    <p:sldLayoutId id="2147484991" r:id="rId242"/>
    <p:sldLayoutId id="2147484992" r:id="rId243"/>
    <p:sldLayoutId id="2147484993" r:id="rId244"/>
    <p:sldLayoutId id="2147484994" r:id="rId245"/>
    <p:sldLayoutId id="2147484995" r:id="rId246"/>
    <p:sldLayoutId id="2147484996" r:id="rId247"/>
    <p:sldLayoutId id="2147484997" r:id="rId248"/>
    <p:sldLayoutId id="2147484998" r:id="rId249"/>
    <p:sldLayoutId id="2147485000" r:id="rId250"/>
    <p:sldLayoutId id="2147485001" r:id="rId251"/>
    <p:sldLayoutId id="2147485002" r:id="rId252"/>
    <p:sldLayoutId id="2147485007" r:id="rId253"/>
    <p:sldLayoutId id="2147485008" r:id="rId254"/>
    <p:sldLayoutId id="2147485009" r:id="rId255"/>
    <p:sldLayoutId id="2147485010" r:id="rId256"/>
    <p:sldLayoutId id="2147485561" r:id="rId257"/>
    <p:sldLayoutId id="2147485012" r:id="rId258"/>
    <p:sldLayoutId id="2147485775" r:id="rId259"/>
    <p:sldLayoutId id="2147485013" r:id="rId260"/>
    <p:sldLayoutId id="2147483868" r:id="rId261"/>
    <p:sldLayoutId id="2147484585" r:id="rId262"/>
    <p:sldLayoutId id="2147484586" r:id="rId263"/>
    <p:sldLayoutId id="2147484587" r:id="rId264"/>
    <p:sldLayoutId id="2147484588" r:id="rId265"/>
    <p:sldLayoutId id="2147484592" r:id="rId266"/>
    <p:sldLayoutId id="2147484593" r:id="rId267"/>
    <p:sldLayoutId id="2147484594" r:id="rId268"/>
    <p:sldLayoutId id="2147484595" r:id="rId269"/>
    <p:sldLayoutId id="2147485579" r:id="rId270"/>
    <p:sldLayoutId id="2147485562" r:id="rId271"/>
    <p:sldLayoutId id="2147485563" r:id="rId272"/>
    <p:sldLayoutId id="2147485367" r:id="rId273"/>
    <p:sldLayoutId id="2147485368" r:id="rId274"/>
    <p:sldLayoutId id="2147485369" r:id="rId275"/>
    <p:sldLayoutId id="2147485400" r:id="rId276"/>
    <p:sldLayoutId id="2147485401" r:id="rId277"/>
    <p:sldLayoutId id="2147485402" r:id="rId278"/>
    <p:sldLayoutId id="2147485403" r:id="rId279"/>
    <p:sldLayoutId id="2147484813" r:id="rId280"/>
    <p:sldLayoutId id="2147484386" r:id="rId281"/>
    <p:sldLayoutId id="2147484815" r:id="rId282"/>
    <p:sldLayoutId id="2147484816" r:id="rId283"/>
    <p:sldLayoutId id="2147484817" r:id="rId284"/>
    <p:sldLayoutId id="2147484329" r:id="rId285"/>
    <p:sldLayoutId id="2147484330" r:id="rId286"/>
    <p:sldLayoutId id="2147484331" r:id="rId287"/>
    <p:sldLayoutId id="2147484332" r:id="rId288"/>
    <p:sldLayoutId id="2147484485" r:id="rId289"/>
    <p:sldLayoutId id="2147484486" r:id="rId290"/>
    <p:sldLayoutId id="2147484609" r:id="rId291"/>
    <p:sldLayoutId id="2147484477" r:id="rId292"/>
    <p:sldLayoutId id="2147484478" r:id="rId293"/>
    <p:sldLayoutId id="2147484260" r:id="rId294"/>
    <p:sldLayoutId id="2147485778" r:id="rId295"/>
    <p:sldLayoutId id="2147485036" r:id="rId296"/>
    <p:sldLayoutId id="2147485037" r:id="rId297"/>
    <p:sldLayoutId id="2147485038" r:id="rId298"/>
    <p:sldLayoutId id="2147485039" r:id="rId299"/>
    <p:sldLayoutId id="2147484483" r:id="rId300"/>
    <p:sldLayoutId id="2147485041" r:id="rId301"/>
    <p:sldLayoutId id="2147485270" r:id="rId302"/>
    <p:sldLayoutId id="2147485271" r:id="rId303"/>
    <p:sldLayoutId id="2147485272" r:id="rId304"/>
    <p:sldLayoutId id="2147485779" r:id="rId305"/>
    <p:sldLayoutId id="2147485043" r:id="rId306"/>
    <p:sldLayoutId id="2147485044" r:id="rId307"/>
    <p:sldLayoutId id="2147485045" r:id="rId308"/>
    <p:sldLayoutId id="2147485046" r:id="rId309"/>
    <p:sldLayoutId id="2147485047" r:id="rId310"/>
    <p:sldLayoutId id="2147485048" r:id="rId311"/>
    <p:sldLayoutId id="2147485049" r:id="rId312"/>
    <p:sldLayoutId id="2147485050" r:id="rId313"/>
    <p:sldLayoutId id="2147485051" r:id="rId314"/>
    <p:sldLayoutId id="2147485052" r:id="rId315"/>
    <p:sldLayoutId id="2147485053" r:id="rId316"/>
    <p:sldLayoutId id="2147485058" r:id="rId317"/>
    <p:sldLayoutId id="2147485059" r:id="rId318"/>
    <p:sldLayoutId id="2147485179" r:id="rId319"/>
    <p:sldLayoutId id="2147485780" r:id="rId320"/>
    <p:sldLayoutId id="2147485061" r:id="rId321"/>
    <p:sldLayoutId id="2147485062" r:id="rId322"/>
    <p:sldLayoutId id="2147485066" r:id="rId323"/>
    <p:sldLayoutId id="2147485067" r:id="rId324"/>
    <p:sldLayoutId id="2147485068" r:id="rId325"/>
    <p:sldLayoutId id="2147485613" r:id="rId326"/>
    <p:sldLayoutId id="2147485614" r:id="rId327"/>
    <p:sldLayoutId id="2147485071" r:id="rId328"/>
    <p:sldLayoutId id="2147484379" r:id="rId329"/>
    <p:sldLayoutId id="2147485073" r:id="rId330"/>
    <p:sldLayoutId id="2147485581" r:id="rId33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835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83" r:id="rId1"/>
    <p:sldLayoutId id="2147485584" r:id="rId2"/>
    <p:sldLayoutId id="2147485585" r:id="rId3"/>
    <p:sldLayoutId id="2147485586" r:id="rId4"/>
    <p:sldLayoutId id="2147485587" r:id="rId5"/>
    <p:sldLayoutId id="2147485588" r:id="rId6"/>
    <p:sldLayoutId id="2147485589" r:id="rId7"/>
    <p:sldLayoutId id="2147485590" r:id="rId8"/>
    <p:sldLayoutId id="2147485084" r:id="rId9"/>
    <p:sldLayoutId id="2147485085" r:id="rId10"/>
    <p:sldLayoutId id="2147485086" r:id="rId11"/>
    <p:sldLayoutId id="2147485087" r:id="rId12"/>
    <p:sldLayoutId id="2147485088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54" r:id="rId1"/>
    <p:sldLayoutId id="2147486655" r:id="rId2"/>
    <p:sldLayoutId id="2147486656" r:id="rId3"/>
    <p:sldLayoutId id="2147486657" r:id="rId4"/>
    <p:sldLayoutId id="2147486658" r:id="rId5"/>
    <p:sldLayoutId id="2147486659" r:id="rId6"/>
    <p:sldLayoutId id="2147486660" r:id="rId7"/>
    <p:sldLayoutId id="2147486661" r:id="rId8"/>
    <p:sldLayoutId id="2147486662" r:id="rId9"/>
    <p:sldLayoutId id="2147486663" r:id="rId10"/>
    <p:sldLayoutId id="2147486665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DB2E7A-0A33-4022-B895-7D595E5D5863}" type="datetimeFigureOut">
              <a:rPr lang="en-US" smtClean="0"/>
              <a:pPr/>
              <a:t>2/1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038434-C2CC-4028-AD72-886E4ED36FC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3565" y="6166098"/>
            <a:ext cx="2117235" cy="463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033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67" r:id="rId1"/>
    <p:sldLayoutId id="2147486668" r:id="rId2"/>
    <p:sldLayoutId id="2147486669" r:id="rId3"/>
    <p:sldLayoutId id="2147486670" r:id="rId4"/>
    <p:sldLayoutId id="2147486671" r:id="rId5"/>
    <p:sldLayoutId id="2147486672" r:id="rId6"/>
    <p:sldLayoutId id="2147486673" r:id="rId7"/>
    <p:sldLayoutId id="2147486674" r:id="rId8"/>
    <p:sldLayoutId id="2147486675" r:id="rId9"/>
    <p:sldLayoutId id="2147486676" r:id="rId10"/>
    <p:sldLayoutId id="2147486677" r:id="rId11"/>
    <p:sldLayoutId id="2147486678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0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1.xml"/><Relationship Id="rId4" Type="http://schemas.openxmlformats.org/officeDocument/2006/relationships/image" Target="../media/image1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2.xml"/><Relationship Id="rId4" Type="http://schemas.openxmlformats.org/officeDocument/2006/relationships/image" Target="../media/image11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118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18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5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118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118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1520.xml"/><Relationship Id="rId4" Type="http://schemas.openxmlformats.org/officeDocument/2006/relationships/image" Target="../media/image105.sv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jpg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ilpqc.org/ILPQC%202020%2B/PVB/Toolkit/IR/30-60-90%20Day%20Plan%20Template.pdf" TargetMode="External"/><Relationship Id="rId2" Type="http://schemas.openxmlformats.org/officeDocument/2006/relationships/hyperlink" Target="mailto:info@ilpqc.org" TargetMode="Externa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3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tmp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154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tmp"/><Relationship Id="rId2" Type="http://schemas.openxmlformats.org/officeDocument/2006/relationships/image" Target="../media/image127.tmp"/><Relationship Id="rId1" Type="http://schemas.openxmlformats.org/officeDocument/2006/relationships/slideLayout" Target="../slideLayouts/slideLayout154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4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549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hyperlink" Target="mailto:glendeanburton@hotmail.com" TargetMode="External"/><Relationship Id="rId1" Type="http://schemas.openxmlformats.org/officeDocument/2006/relationships/slideLayout" Target="../slideLayouts/slideLayout154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sv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520.xml"/><Relationship Id="rId6" Type="http://schemas.openxmlformats.org/officeDocument/2006/relationships/hyperlink" Target="mailto:info@ilpqc.org" TargetMode="External"/><Relationship Id="rId5" Type="http://schemas.openxmlformats.org/officeDocument/2006/relationships/image" Target="../media/image107.png"/><Relationship Id="rId4" Type="http://schemas.openxmlformats.org/officeDocument/2006/relationships/image" Target="../media/image106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2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0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2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58.xml"/><Relationship Id="rId6" Type="http://schemas.openxmlformats.org/officeDocument/2006/relationships/image" Target="../media/image135.png"/><Relationship Id="rId5" Type="http://schemas.openxmlformats.org/officeDocument/2006/relationships/image" Target="../media/image134.png"/><Relationship Id="rId4" Type="http://schemas.openxmlformats.org/officeDocument/2006/relationships/image" Target="../media/image133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31" name="Google Shape;11931;p1"/>
          <p:cNvSpPr txBox="1">
            <a:spLocks noGrp="1"/>
          </p:cNvSpPr>
          <p:nvPr>
            <p:ph type="ctrTitle"/>
          </p:nvPr>
        </p:nvSpPr>
        <p:spPr>
          <a:xfrm>
            <a:off x="1341423" y="1418093"/>
            <a:ext cx="5130670" cy="2700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r>
              <a:rPr lang="en-US" dirty="0"/>
              <a:t>BE Teams Call – Holding Respectful Care Breakfasts: Lessons Learned</a:t>
            </a:r>
          </a:p>
        </p:txBody>
      </p:sp>
      <p:sp>
        <p:nvSpPr>
          <p:cNvPr id="11932" name="Google Shape;11932;p1"/>
          <p:cNvSpPr txBox="1">
            <a:spLocks noGrp="1"/>
          </p:cNvSpPr>
          <p:nvPr>
            <p:ph type="subTitle" idx="1"/>
          </p:nvPr>
        </p:nvSpPr>
        <p:spPr>
          <a:xfrm>
            <a:off x="1341423" y="419818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indent="0">
              <a:spcBef>
                <a:spcPts val="0"/>
              </a:spcBef>
            </a:pPr>
            <a:r>
              <a:rPr lang="en-US" dirty="0"/>
              <a:t>February 19th, 2024</a:t>
            </a:r>
          </a:p>
        </p:txBody>
      </p:sp>
      <p:pic>
        <p:nvPicPr>
          <p:cNvPr id="11933" name="Google Shape;11933;p1" descr="Woman kissing newborn baby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09082" y="1267275"/>
            <a:ext cx="5589946" cy="3837481"/>
          </a:xfrm>
          <a:prstGeom prst="ellipse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8" name="Google Shape;12088;p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Birth Equity Data Review</a:t>
            </a:r>
            <a:endParaRPr/>
          </a:p>
        </p:txBody>
      </p:sp>
      <p:sp>
        <p:nvSpPr>
          <p:cNvPr id="12089" name="Google Shape;12089;p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2010" y="280067"/>
            <a:ext cx="7188790" cy="1325563"/>
          </a:xfrm>
          <a:noFill/>
        </p:spPr>
        <p:txBody>
          <a:bodyPr>
            <a:normAutofit fontScale="90000"/>
          </a:bodyPr>
          <a:lstStyle/>
          <a:p>
            <a:pPr marL="12700" marR="5080"/>
            <a:r>
              <a:rPr lang="en-US" sz="3100" b="1" dirty="0">
                <a:solidFill>
                  <a:srgbClr val="373737"/>
                </a:solidFill>
                <a:ea typeface="Arial"/>
                <a:cs typeface="Arial"/>
                <a:sym typeface="Arial"/>
              </a:rPr>
              <a:t>By </a:t>
            </a:r>
            <a:r>
              <a:rPr lang="en-US" sz="3100" b="1" dirty="0">
                <a:solidFill>
                  <a:srgbClr val="373737"/>
                </a:solidFill>
              </a:rPr>
              <a:t>May 2024</a:t>
            </a:r>
            <a:r>
              <a:rPr lang="en-US" sz="3100" b="1" dirty="0">
                <a:solidFill>
                  <a:srgbClr val="373737"/>
                </a:solidFill>
                <a:ea typeface="Arial"/>
                <a:cs typeface="Arial"/>
                <a:sym typeface="Arial"/>
              </a:rPr>
              <a:t>, </a:t>
            </a:r>
            <a:r>
              <a:rPr lang="en-US" sz="3100" b="1" u="sng" dirty="0">
                <a:solidFill>
                  <a:srgbClr val="373737"/>
                </a:solidFill>
                <a:ea typeface="Arial"/>
                <a:cs typeface="Arial"/>
                <a:sym typeface="Arial"/>
              </a:rPr>
              <a:t>&gt;</a:t>
            </a:r>
            <a:r>
              <a:rPr lang="en-US" sz="3100" b="1" dirty="0">
                <a:solidFill>
                  <a:srgbClr val="373737"/>
                </a:solidFill>
                <a:ea typeface="Arial"/>
                <a:cs typeface="Arial"/>
                <a:sym typeface="Arial"/>
              </a:rPr>
              <a:t> 70% of participating hospitals will have implemented each key strategy</a:t>
            </a:r>
            <a:br>
              <a:rPr lang="en-US" sz="4000" dirty="0"/>
            </a:br>
            <a:endParaRPr lang="en-US" sz="4000" b="1" dirty="0">
              <a:solidFill>
                <a:srgbClr val="F58466"/>
              </a:solidFill>
              <a:latin typeface="Goudy Old Style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graphicFrame>
        <p:nvGraphicFramePr>
          <p:cNvPr id="2" name="Diagram 1"/>
          <p:cNvGraphicFramePr/>
          <p:nvPr/>
        </p:nvGraphicFramePr>
        <p:xfrm>
          <a:off x="59167" y="1323508"/>
          <a:ext cx="12073666" cy="5032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7521713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71" name="Google Shape;12171;p1143"/>
          <p:cNvSpPr txBox="1">
            <a:spLocks noGrp="1"/>
          </p:cNvSpPr>
          <p:nvPr>
            <p:ph type="title"/>
          </p:nvPr>
        </p:nvSpPr>
        <p:spPr>
          <a:xfrm>
            <a:off x="101600" y="1"/>
            <a:ext cx="11897773" cy="13792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 b="0" dirty="0"/>
              <a:t>ILPQC Hospital Team Data Submission </a:t>
            </a:r>
            <a:endParaRPr dirty="0"/>
          </a:p>
        </p:txBody>
      </p:sp>
      <p:sp>
        <p:nvSpPr>
          <p:cNvPr id="12173" name="Google Shape;12173;p11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Illinois Perinatal Quality Collaborative</a:t>
            </a:r>
            <a:endParaRPr/>
          </a:p>
        </p:txBody>
      </p:sp>
      <p:graphicFrame>
        <p:nvGraphicFramePr>
          <p:cNvPr id="12174" name="Google Shape;12174;p1143"/>
          <p:cNvGraphicFramePr/>
          <p:nvPr>
            <p:extLst>
              <p:ext uri="{D42A27DB-BD31-4B8C-83A1-F6EECF244321}">
                <p14:modId xmlns:p14="http://schemas.microsoft.com/office/powerpoint/2010/main" val="1332415068"/>
              </p:ext>
            </p:extLst>
          </p:nvPr>
        </p:nvGraphicFramePr>
        <p:xfrm>
          <a:off x="221358" y="1204924"/>
          <a:ext cx="11754900" cy="5486480"/>
        </p:xfrm>
        <a:graphic>
          <a:graphicData uri="http://schemas.openxmlformats.org/drawingml/2006/table">
            <a:tbl>
              <a:tblPr firstRow="1" bandRow="1">
                <a:noFill/>
                <a:tableStyleId>{54556ADF-2B93-452C-9A2B-54F70BC1554F}</a:tableStyleId>
              </a:tblPr>
              <a:tblGrid>
                <a:gridCol w="5774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727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072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Structure Measures​</a:t>
                      </a:r>
                      <a:endParaRPr sz="1400" b="1" u="none" strike="noStrike" cap="none" dirty="0">
                        <a:solidFill>
                          <a:srgbClr val="FFFFFF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Baseline </a:t>
                      </a:r>
                      <a:endParaRPr sz="1400" b="1" u="none" strike="noStrike" cap="none" dirty="0">
                        <a:solidFill>
                          <a:srgbClr val="FFFFFF"/>
                        </a:solidFill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 dirty="0"/>
                        <a:t>(% In Place)​</a:t>
                      </a:r>
                      <a:endParaRPr sz="1400" b="1" u="none" strike="noStrike" cap="none" dirty="0">
                        <a:solidFill>
                          <a:srgbClr val="FFFFFF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January 2024</a:t>
                      </a:r>
                      <a:endParaRPr sz="1400" u="none" strike="noStrike" cap="none"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(% In Place)​</a:t>
                      </a:r>
                      <a:endParaRPr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SDOH Screening (L&amp;D)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17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100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Optimize Accurate Self-Reported ​</a:t>
                      </a:r>
                      <a:endParaRPr sz="1400" u="none" strike="noStrike" cap="none"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Race and Ethnicity Data Collection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7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85%​</a:t>
                      </a:r>
                      <a:endParaRPr sz="1400" u="none" strike="noStrike" cap="none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 dirty="0"/>
                        <a:t>Review Maternal QI Data Stratified by Race, Ethnicity &amp; Insurance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 dirty="0"/>
                        <a:t>6%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 dirty="0"/>
                        <a:t>90%</a:t>
                      </a:r>
                      <a:endParaRPr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>
                          <a:highlight>
                            <a:srgbClr val="FFFF00"/>
                          </a:highlight>
                        </a:rPr>
                        <a:t>Engage Patients and Community ​</a:t>
                      </a:r>
                      <a:endParaRPr sz="1400" u="none" strike="noStrike" cap="none" dirty="0">
                        <a:highlight>
                          <a:srgbClr val="FFFF00"/>
                        </a:highlight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>
                          <a:highlight>
                            <a:srgbClr val="FFFF00"/>
                          </a:highlight>
                        </a:rPr>
                        <a:t>in QI Work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>
                          <a:highlight>
                            <a:srgbClr val="FFFF00"/>
                          </a:highlight>
                        </a:rPr>
                        <a:t>4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>
                          <a:highlight>
                            <a:srgbClr val="FFFF00"/>
                          </a:highlight>
                        </a:rPr>
                        <a:t>61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38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Sharing Respectful Care Strategies with Healthcare Team and Patients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9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80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PREM Implementation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9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75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Postpartum Safety Patient Education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54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0" u="none" strike="noStrike" cap="none" dirty="0"/>
                        <a:t>100%​</a:t>
                      </a:r>
                      <a:endParaRPr sz="1400" b="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" name="Cloud 1">
            <a:extLst>
              <a:ext uri="{FF2B5EF4-FFF2-40B4-BE49-F238E27FC236}">
                <a16:creationId xmlns:a16="http://schemas.microsoft.com/office/drawing/2014/main" id="{6981EFDC-C560-1CAD-4AA3-90F81C9A689A}"/>
              </a:ext>
            </a:extLst>
          </p:cNvPr>
          <p:cNvSpPr/>
          <p:nvPr/>
        </p:nvSpPr>
        <p:spPr>
          <a:xfrm>
            <a:off x="7501632" y="-30070"/>
            <a:ext cx="4153764" cy="1379294"/>
          </a:xfrm>
          <a:prstGeom prst="cloud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accent1"/>
                </a:solidFill>
              </a:rPr>
              <a:t>Reminder to continue submitting BE monthly hospital measures data to </a:t>
            </a:r>
            <a:r>
              <a:rPr lang="en-US" sz="1600" b="1" dirty="0" err="1">
                <a:solidFill>
                  <a:schemeClr val="accent1"/>
                </a:solidFill>
              </a:rPr>
              <a:t>REDCap</a:t>
            </a:r>
            <a:r>
              <a:rPr lang="en-US" sz="1600" b="1" dirty="0">
                <a:solidFill>
                  <a:schemeClr val="accent1"/>
                </a:solidFill>
              </a:rPr>
              <a:t>!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E64FB11-790D-416A-E913-82D25A9550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9715" y="2733518"/>
            <a:ext cx="5880134" cy="258873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1F3E0-0165-6513-0FFB-7E9A02ECC4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386" y="2571233"/>
            <a:ext cx="5880134" cy="2610463"/>
          </a:xfrm>
          <a:prstGeom prst="rect">
            <a:avLst/>
          </a:prstGeom>
        </p:spPr>
      </p:pic>
      <p:sp>
        <p:nvSpPr>
          <p:cNvPr id="12182" name="Google Shape;12182;p11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  <p:sp>
        <p:nvSpPr>
          <p:cNvPr id="12183" name="Google Shape;12183;p1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2184" name="Google Shape;12184;p1144"/>
          <p:cNvSpPr txBox="1"/>
          <p:nvPr/>
        </p:nvSpPr>
        <p:spPr>
          <a:xfrm>
            <a:off x="183151" y="215022"/>
            <a:ext cx="7178437" cy="10771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Social Determinants of Health Screening and Linkage to Community Resources</a:t>
            </a:r>
            <a:endParaRPr sz="3200" b="1" i="0" u="none" strike="noStrike" cap="none" dirty="0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85" name="Google Shape;12185;p1144"/>
          <p:cNvSpPr txBox="1"/>
          <p:nvPr/>
        </p:nvSpPr>
        <p:spPr>
          <a:xfrm>
            <a:off x="1106129" y="1670186"/>
            <a:ext cx="4343400" cy="461665"/>
          </a:xfrm>
          <a:prstGeom prst="rect">
            <a:avLst/>
          </a:prstGeom>
          <a:noFill/>
          <a:ln w="57150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4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SDoH Screening (L&amp;D)</a:t>
            </a:r>
            <a:endParaRPr sz="2400" b="0" i="0" u="none" strike="noStrike" cap="none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86" name="Google Shape;12186;p1144"/>
          <p:cNvSpPr txBox="1"/>
          <p:nvPr/>
        </p:nvSpPr>
        <p:spPr>
          <a:xfrm>
            <a:off x="6934200" y="1492074"/>
            <a:ext cx="4343400" cy="1200288"/>
          </a:xfrm>
          <a:prstGeom prst="rect">
            <a:avLst/>
          </a:prstGeom>
          <a:noFill/>
          <a:ln w="57150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0" u="none" strike="noStrike" cap="none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Screen Positive Patients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0" u="none" strike="noStrike" cap="none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Documentation of Linkage to Community Resources (L&amp;D)</a:t>
            </a:r>
            <a:endParaRPr sz="1400" b="0" i="0" u="none" strike="noStrike" cap="none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89" name="Google Shape;12189;p1144"/>
          <p:cNvSpPr txBox="1"/>
          <p:nvPr/>
        </p:nvSpPr>
        <p:spPr>
          <a:xfrm>
            <a:off x="731577" y="3712785"/>
            <a:ext cx="590550" cy="369332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6%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90" name="Google Shape;12190;p1144"/>
          <p:cNvSpPr txBox="1"/>
          <p:nvPr/>
        </p:nvSpPr>
        <p:spPr>
          <a:xfrm>
            <a:off x="5518202" y="2370796"/>
            <a:ext cx="682772" cy="381145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8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0%</a:t>
            </a:r>
            <a:endParaRPr sz="14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88" name="Google Shape;12188;p1144"/>
          <p:cNvSpPr txBox="1"/>
          <p:nvPr/>
        </p:nvSpPr>
        <p:spPr>
          <a:xfrm>
            <a:off x="11326735" y="3709919"/>
            <a:ext cx="771363" cy="369332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8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6</a:t>
            </a:r>
            <a:r>
              <a:rPr lang="en-US" sz="18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%</a:t>
            </a:r>
            <a:endParaRPr sz="14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87" name="Google Shape;12187;p1144"/>
          <p:cNvSpPr txBox="1"/>
          <p:nvPr/>
        </p:nvSpPr>
        <p:spPr>
          <a:xfrm>
            <a:off x="6686377" y="3893317"/>
            <a:ext cx="590550" cy="369332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4%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08" name="Google Shape;12208;p13"/>
          <p:cNvSpPr txBox="1">
            <a:spLocks noGrp="1"/>
          </p:cNvSpPr>
          <p:nvPr>
            <p:ph type="title"/>
          </p:nvPr>
        </p:nvSpPr>
        <p:spPr>
          <a:xfrm>
            <a:off x="176139" y="35485"/>
            <a:ext cx="6219825" cy="13446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</a:pPr>
            <a:r>
              <a:rPr lang="en-US" sz="4000" dirty="0"/>
              <a:t>PREM Survey Completion goal &gt; 10%</a:t>
            </a:r>
            <a:endParaRPr dirty="0"/>
          </a:p>
        </p:txBody>
      </p:sp>
      <p:sp>
        <p:nvSpPr>
          <p:cNvPr id="12209" name="Google Shape;12209;p1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fld id="{00000000-1234-1234-1234-123412341234}" type="slidenum">
              <a:rPr lang="en-US"/>
              <a:t>14</a:t>
            </a:fld>
            <a:endParaRPr/>
          </a:p>
        </p:txBody>
      </p:sp>
      <p:sp>
        <p:nvSpPr>
          <p:cNvPr id="12210" name="Google Shape;12210;p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2211" name="Google Shape;12211;p13"/>
          <p:cNvSpPr/>
          <p:nvPr/>
        </p:nvSpPr>
        <p:spPr>
          <a:xfrm>
            <a:off x="105391" y="1436904"/>
            <a:ext cx="4774955" cy="198859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14356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 8,437 </a:t>
            </a:r>
            <a:r>
              <a:rPr lang="en-US" sz="2800" dirty="0">
                <a:solidFill>
                  <a:schemeClr val="lt1"/>
                </a:solidFill>
              </a:rPr>
              <a:t>PREM</a:t>
            </a:r>
            <a:r>
              <a:rPr lang="en-US" sz="2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surveys submitted among </a:t>
            </a:r>
            <a:r>
              <a:rPr lang="en-US" sz="2800" dirty="0">
                <a:solidFill>
                  <a:schemeClr val="lt1"/>
                </a:solidFill>
              </a:rPr>
              <a:t>75 </a:t>
            </a:r>
            <a:r>
              <a:rPr lang="en-US" sz="2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ospitals</a:t>
            </a:r>
            <a:endParaRPr dirty="0">
              <a:solidFill>
                <a:schemeClr val="lt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2% Black, 19% Hispanic, 5% Asian, 48% White</a:t>
            </a:r>
            <a:endParaRPr sz="14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Picture 2" descr="A graph of a number of blue bars&#10;&#10;Description automatically generated">
            <a:extLst>
              <a:ext uri="{FF2B5EF4-FFF2-40B4-BE49-F238E27FC236}">
                <a16:creationId xmlns:a16="http://schemas.microsoft.com/office/drawing/2014/main" id="{A0918CB8-BB14-A9C6-DD63-BC61D694C1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651" y="3482309"/>
            <a:ext cx="4524375" cy="26955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251F12B-9093-D3B1-2289-71F2E548ED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9453" y="1731144"/>
            <a:ext cx="7067156" cy="3903839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19D843-A2FC-4A36-BE55-B249C1B76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418782"/>
            <a:ext cx="8148320" cy="1325563"/>
          </a:xfrm>
        </p:spPr>
        <p:txBody>
          <a:bodyPr/>
          <a:lstStyle/>
          <a:p>
            <a:r>
              <a:rPr lang="en-US" dirty="0"/>
              <a:t>Why are Respectful Care Breakfasts important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3BA026-C314-484B-AAD4-9196669AD3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600" b="1" u="sng" dirty="0"/>
              <a:t>A key strategy for Birth Equity Sustainability</a:t>
            </a:r>
          </a:p>
          <a:p>
            <a:r>
              <a:rPr lang="en-US" sz="2600" dirty="0"/>
              <a:t>Patient partners provide QI teams patient perspective for improving care</a:t>
            </a:r>
          </a:p>
          <a:p>
            <a:r>
              <a:rPr lang="en-US" sz="2600" b="1" dirty="0"/>
              <a:t>Respectful Care Breakfasts:</a:t>
            </a:r>
          </a:p>
          <a:p>
            <a:pPr lvl="1"/>
            <a:r>
              <a:rPr lang="en-US" sz="2500" dirty="0"/>
              <a:t>Engage clinical team members with patient perspectives on improving care</a:t>
            </a:r>
          </a:p>
          <a:p>
            <a:pPr lvl="1"/>
            <a:r>
              <a:rPr lang="en-US" sz="2500" dirty="0"/>
              <a:t>Help clinical staff identify opportunities to improve Respectful Care</a:t>
            </a:r>
          </a:p>
          <a:p>
            <a:pPr lvl="1"/>
            <a:r>
              <a:rPr lang="en-US" sz="2500" dirty="0"/>
              <a:t>Motivate clinical team members to actively implement respectful care practices</a:t>
            </a:r>
          </a:p>
          <a:p>
            <a:pPr lvl="1"/>
            <a:r>
              <a:rPr lang="en-US" sz="2500" dirty="0"/>
              <a:t>Held quarterly/ biannually supports ongoing Birth Equity Sustainabi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114A1E-6317-4957-90E7-6652D7854B3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3186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68" name="Google Shape;12268;p114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en-US" dirty="0"/>
              <a:t>Steps to Holding a Respectful Care Breakfast Before Face-to-Face Conference in May 2024</a:t>
            </a:r>
          </a:p>
        </p:txBody>
      </p:sp>
      <p:sp>
        <p:nvSpPr>
          <p:cNvPr id="12269" name="Google Shape;12269;p114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endParaRPr lang="en-US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2549B7-6ED0-53FD-9B28-CDA21D98B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1550" y="144669"/>
            <a:ext cx="7427843" cy="1325563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Planning your Respectful Care Breakfast  - an overview</a:t>
            </a:r>
            <a:endParaRPr lang="en-US" dirty="0"/>
          </a:p>
        </p:txBody>
      </p:sp>
      <p:graphicFrame>
        <p:nvGraphicFramePr>
          <p:cNvPr id="6" name="Diagram 6">
            <a:extLst>
              <a:ext uri="{FF2B5EF4-FFF2-40B4-BE49-F238E27FC236}">
                <a16:creationId xmlns:a16="http://schemas.microsoft.com/office/drawing/2014/main" id="{E3191E14-BEA4-BFCE-B113-7D7880E23A5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41845069"/>
              </p:ext>
            </p:extLst>
          </p:nvPr>
        </p:nvGraphicFramePr>
        <p:xfrm>
          <a:off x="145775" y="295529"/>
          <a:ext cx="11908147" cy="65135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CDBAD3-9B3C-1A8D-812A-5BA888D46B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1028" name="Graphic 1028" descr="Meeting outline">
            <a:extLst>
              <a:ext uri="{FF2B5EF4-FFF2-40B4-BE49-F238E27FC236}">
                <a16:creationId xmlns:a16="http://schemas.microsoft.com/office/drawing/2014/main" id="{CE9F3C7A-7DD1-7217-67A6-032F043A85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12393" y="35025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4816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C4AFBC-DD90-262A-1E83-2EB51805B6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7698260" cy="1346157"/>
          </a:xfrm>
        </p:spPr>
        <p:txBody>
          <a:bodyPr/>
          <a:lstStyle/>
          <a:p>
            <a:r>
              <a:rPr lang="en-US" dirty="0"/>
              <a:t>How do you plan a Respectful Care Breakfast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EC0976-4600-4F72-4846-D9D30490ED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ather your planning team</a:t>
            </a:r>
          </a:p>
          <a:p>
            <a:pPr lvl="1">
              <a:buFont typeface="Courier New,monospace"/>
              <a:buChar char="o"/>
            </a:pPr>
            <a:r>
              <a:rPr lang="en-US"/>
              <a:t>Unit leadership, educator, provider champion, nurse champion, social work, doula, etc.</a:t>
            </a:r>
            <a:endParaRPr lang="en-US">
              <a:solidFill>
                <a:srgbClr val="000000"/>
              </a:solidFill>
            </a:endParaRPr>
          </a:p>
          <a:p>
            <a:pPr lvl="1">
              <a:buFont typeface="Courier New,monospace"/>
              <a:buChar char="o"/>
            </a:pPr>
            <a:r>
              <a:rPr lang="en-US" dirty="0"/>
              <a:t>BE QI team members</a:t>
            </a:r>
          </a:p>
          <a:p>
            <a:pPr>
              <a:buClr>
                <a:srgbClr val="F5668F"/>
              </a:buClr>
            </a:pPr>
            <a:r>
              <a:rPr lang="en-US" dirty="0"/>
              <a:t>Set the date</a:t>
            </a:r>
          </a:p>
          <a:p>
            <a:pPr>
              <a:buClr>
                <a:srgbClr val="F5668F"/>
              </a:buClr>
            </a:pPr>
            <a:r>
              <a:rPr lang="en-US"/>
              <a:t>Determine the location</a:t>
            </a:r>
          </a:p>
          <a:p>
            <a:pPr>
              <a:buClr>
                <a:srgbClr val="F5668F"/>
              </a:buClr>
            </a:pPr>
            <a:r>
              <a:rPr lang="en-US" dirty="0"/>
              <a:t>Create a flyer/social media post to advertise the event</a:t>
            </a:r>
          </a:p>
          <a:p>
            <a:pPr lvl="1">
              <a:buClr>
                <a:srgbClr val="1C498B"/>
              </a:buClr>
              <a:buFont typeface="Courier New"/>
              <a:buChar char="o"/>
            </a:pPr>
            <a:endParaRPr lang="en-US" dirty="0"/>
          </a:p>
          <a:p>
            <a:pPr lvl="1">
              <a:buClr>
                <a:srgbClr val="1C498B"/>
              </a:buClr>
              <a:buFont typeface="Courier New"/>
              <a:buChar char="o"/>
            </a:pPr>
            <a:endParaRPr lang="en-US" dirty="0"/>
          </a:p>
          <a:p>
            <a:pPr lvl="1">
              <a:buClr>
                <a:srgbClr val="1C498B"/>
              </a:buClr>
              <a:buFont typeface="Courier New"/>
              <a:buChar char="o"/>
            </a:pPr>
            <a:endParaRPr lang="en-US" dirty="0"/>
          </a:p>
          <a:p>
            <a:pPr lvl="1">
              <a:buClr>
                <a:srgbClr val="1C498B"/>
              </a:buClr>
              <a:buFont typeface="Courier New"/>
              <a:buChar char="o"/>
            </a:pPr>
            <a:endParaRPr lang="en-US" dirty="0"/>
          </a:p>
          <a:p>
            <a:pPr lvl="1">
              <a:buClr>
                <a:srgbClr val="1C498B"/>
              </a:buClr>
              <a:buFont typeface="Courier New"/>
              <a:buChar char="o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055A5C-ED39-1418-BA69-7C356DD37E5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01529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D1DE2B-DECE-4DEC-899B-2AB309B69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7355840" cy="1345883"/>
          </a:xfrm>
        </p:spPr>
        <p:txBody>
          <a:bodyPr/>
          <a:lstStyle/>
          <a:p>
            <a:r>
              <a:rPr lang="en-US" dirty="0"/>
              <a:t>How do you invite patients who have delivered at your hospital in the last 1-2 years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B8D718-20AA-2DCE-9993-70CCCB35D2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sk colleagues for recommendations</a:t>
            </a:r>
            <a:endParaRPr lang="en-US" sz="2200" dirty="0">
              <a:solidFill>
                <a:srgbClr val="000000"/>
              </a:solidFill>
            </a:endParaRPr>
          </a:p>
          <a:p>
            <a:pPr lvl="1">
              <a:buFont typeface="Courier New"/>
              <a:buChar char="o"/>
            </a:pPr>
            <a:r>
              <a:rPr lang="en-US" dirty="0"/>
              <a:t>Ask</a:t>
            </a:r>
            <a:r>
              <a:rPr lang="en-US" b="1" dirty="0"/>
              <a:t> NICU team </a:t>
            </a:r>
            <a:r>
              <a:rPr lang="en-US" dirty="0"/>
              <a:t>for recommendation for current or prior NICU moms </a:t>
            </a:r>
            <a:endParaRPr lang="en-US" dirty="0">
              <a:solidFill>
                <a:srgbClr val="444C55"/>
              </a:solidFill>
            </a:endParaRPr>
          </a:p>
          <a:p>
            <a:pPr lvl="1">
              <a:buClr>
                <a:srgbClr val="1C498B"/>
              </a:buClr>
              <a:buFont typeface="Courier New"/>
              <a:buChar char="o"/>
            </a:pPr>
            <a:r>
              <a:rPr lang="en-US" dirty="0"/>
              <a:t>Ask</a:t>
            </a:r>
            <a:r>
              <a:rPr lang="en-US" b="1" dirty="0"/>
              <a:t> providers</a:t>
            </a:r>
            <a:r>
              <a:rPr lang="en-US" dirty="0"/>
              <a:t>: physicians, nurses midwives  recommendation for prior patients </a:t>
            </a:r>
            <a:endParaRPr lang="en-US" dirty="0">
              <a:solidFill>
                <a:srgbClr val="444C55"/>
              </a:solidFill>
            </a:endParaRPr>
          </a:p>
          <a:p>
            <a:pPr lvl="1">
              <a:buClr>
                <a:srgbClr val="1C498B"/>
              </a:buClr>
              <a:buFont typeface="Courier New"/>
              <a:buChar char="o"/>
            </a:pPr>
            <a:r>
              <a:rPr lang="en-US" dirty="0"/>
              <a:t>Ask </a:t>
            </a:r>
            <a:r>
              <a:rPr lang="en-US" b="1" dirty="0"/>
              <a:t>other staff</a:t>
            </a:r>
            <a:r>
              <a:rPr lang="en-US" dirty="0"/>
              <a:t>: social workers, lactation consultants</a:t>
            </a:r>
            <a:endParaRPr lang="en-US" dirty="0">
              <a:solidFill>
                <a:srgbClr val="444C55"/>
              </a:solidFill>
            </a:endParaRPr>
          </a:p>
          <a:p>
            <a:pPr lvl="1">
              <a:buClr>
                <a:srgbClr val="1C498B"/>
              </a:buClr>
              <a:buFont typeface="Courier New"/>
              <a:buChar char="o"/>
            </a:pPr>
            <a:r>
              <a:rPr lang="en-US" dirty="0"/>
              <a:t>Ask </a:t>
            </a:r>
            <a:r>
              <a:rPr lang="en-US" b="1" dirty="0"/>
              <a:t>Community Doulas</a:t>
            </a:r>
            <a:r>
              <a:rPr lang="en-US" dirty="0"/>
              <a:t> for recommendations for patient </a:t>
            </a:r>
            <a:endParaRPr lang="en-US" dirty="0">
              <a:solidFill>
                <a:srgbClr val="000000"/>
              </a:solidFill>
            </a:endParaRPr>
          </a:p>
          <a:p>
            <a:r>
              <a:rPr lang="en-US" dirty="0"/>
              <a:t>Outreach to postpartum support groups</a:t>
            </a:r>
          </a:p>
          <a:p>
            <a:r>
              <a:rPr lang="en-US" dirty="0"/>
              <a:t>Post flyers to invite all NICU moms </a:t>
            </a:r>
          </a:p>
          <a:p>
            <a:r>
              <a:rPr lang="en-US" dirty="0"/>
              <a:t>Invite postpartum delivered patients, post flyers on postpartum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1D0C61-501A-A4AB-A911-FA7C3871005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71982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9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39" name="Google Shape;11939;p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0" name="Google Shape;11940;p2"/>
          <p:cNvSpPr/>
          <p:nvPr/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0">
                <a:srgbClr val="000000"/>
              </a:gs>
              <a:gs pos="8000">
                <a:srgbClr val="000000"/>
              </a:gs>
              <a:gs pos="100000">
                <a:srgbClr val="143668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1" name="Google Shape;11941;p2"/>
          <p:cNvSpPr/>
          <p:nvPr/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1C498B">
                  <a:alpha val="45490"/>
                </a:srgbClr>
              </a:gs>
              <a:gs pos="100000">
                <a:srgbClr val="1C498B">
                  <a:alpha val="45490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2" name="Google Shape;11942;p2"/>
          <p:cNvSpPr/>
          <p:nvPr/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0">
                <a:srgbClr val="1C498B">
                  <a:alpha val="28235"/>
                </a:srgbClr>
              </a:gs>
              <a:gs pos="2000">
                <a:srgbClr val="1C498B">
                  <a:alpha val="28235"/>
                </a:srgbClr>
              </a:gs>
              <a:gs pos="100000">
                <a:srgbClr val="000000">
                  <a:alpha val="29411"/>
                </a:srgbClr>
              </a:gs>
            </a:gsLst>
            <a:lin ang="7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3" name="Google Shape;11943;p2"/>
          <p:cNvSpPr/>
          <p:nvPr/>
        </p:nvSpPr>
        <p:spPr>
          <a:xfrm rot="-964587">
            <a:off x="-501737" y="969718"/>
            <a:ext cx="3900357" cy="4178958"/>
          </a:xfrm>
          <a:custGeom>
            <a:avLst/>
            <a:gdLst/>
            <a:ahLst/>
            <a:cxnLst/>
            <a:rect l="l" t="t" r="r" b="b"/>
            <a:pathLst>
              <a:path w="3900357" h="4178958" extrusionOk="0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0">
                <a:srgbClr val="000000">
                  <a:alpha val="0"/>
                </a:srgbClr>
              </a:gs>
              <a:gs pos="29000">
                <a:srgbClr val="000000">
                  <a:alpha val="0"/>
                </a:srgbClr>
              </a:gs>
              <a:gs pos="100000">
                <a:srgbClr val="1C498B">
                  <a:alpha val="42352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4" name="Google Shape;11944;p2"/>
          <p:cNvSpPr/>
          <p:nvPr/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5189DD">
                  <a:alpha val="10588"/>
                </a:srgbClr>
              </a:gs>
              <a:gs pos="100000">
                <a:srgbClr val="5189DD">
                  <a:alpha val="10588"/>
                </a:srgbClr>
              </a:gs>
            </a:gsLst>
            <a:lin ang="72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5" name="Google Shape;11945;p2"/>
          <p:cNvSpPr txBox="1"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Calibri"/>
              <a:buNone/>
            </a:pPr>
            <a:r>
              <a:rPr lang="en-US" sz="4000">
                <a:solidFill>
                  <a:srgbClr val="FFFFFF"/>
                </a:solidFill>
              </a:rPr>
              <a:t>Call Overview</a:t>
            </a:r>
            <a:endParaRPr/>
          </a:p>
        </p:txBody>
      </p:sp>
      <p:sp>
        <p:nvSpPr>
          <p:cNvPr id="11946" name="Google Shape;11946;p2"/>
          <p:cNvSpPr txBox="1">
            <a:spLocks noGrp="1"/>
          </p:cNvSpPr>
          <p:nvPr>
            <p:ph type="ftr" idx="11"/>
          </p:nvPr>
        </p:nvSpPr>
        <p:spPr>
          <a:xfrm rot="5400000">
            <a:off x="-1828800" y="1984248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Calibri"/>
              <a:buNone/>
            </a:pPr>
            <a:r>
              <a:rPr lang="en-US" sz="11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sp>
        <p:nvSpPr>
          <p:cNvPr id="11947" name="Google Shape;11947;p2"/>
          <p:cNvSpPr txBox="1">
            <a:spLocks noGrp="1"/>
          </p:cNvSpPr>
          <p:nvPr>
            <p:ph type="sldNum" idx="12"/>
          </p:nvPr>
        </p:nvSpPr>
        <p:spPr>
          <a:xfrm>
            <a:off x="11704320" y="6455664"/>
            <a:ext cx="44805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CA5AE"/>
              </a:buClr>
              <a:buSzPts val="1100"/>
              <a:buFont typeface="Calibri"/>
              <a:buNone/>
            </a:pPr>
            <a:fld id="{00000000-1234-1234-1234-123412341234}" type="slidenum">
              <a:rPr lang="en-US" sz="1100" b="0" i="0" u="none" strike="noStrike" cap="none">
                <a:solidFill>
                  <a:srgbClr val="9CA5AE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100" b="0" i="0" u="none" strike="noStrike" cap="none">
              <a:solidFill>
                <a:srgbClr val="9CA5A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1948" name="Google Shape;11948;p2"/>
          <p:cNvGrpSpPr/>
          <p:nvPr/>
        </p:nvGrpSpPr>
        <p:grpSpPr>
          <a:xfrm>
            <a:off x="4435782" y="898199"/>
            <a:ext cx="7281349" cy="5065920"/>
            <a:chOff x="0" y="372209"/>
            <a:chExt cx="7281349" cy="5065920"/>
          </a:xfrm>
        </p:grpSpPr>
        <p:sp>
          <p:nvSpPr>
            <p:cNvPr id="11949" name="Google Shape;11949;p2"/>
            <p:cNvSpPr/>
            <p:nvPr/>
          </p:nvSpPr>
          <p:spPr>
            <a:xfrm>
              <a:off x="0" y="37220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7DA1FD"/>
                </a:gs>
                <a:gs pos="50000">
                  <a:srgbClr val="6292FE"/>
                </a:gs>
                <a:gs pos="100000">
                  <a:srgbClr val="4D7DE3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0" name="Google Shape;11950;p2"/>
            <p:cNvSpPr txBox="1"/>
            <p:nvPr/>
          </p:nvSpPr>
          <p:spPr>
            <a:xfrm>
              <a:off x="37467" y="409676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3200" dirty="0">
                  <a:solidFill>
                    <a:schemeClr val="accent1"/>
                  </a:solidFill>
                  <a:latin typeface="Calibri"/>
                  <a:cs typeface="Calibri"/>
                  <a:sym typeface="Calibri"/>
                </a:rPr>
                <a:t>BE Data Form Updates Reminder</a:t>
              </a:r>
              <a:endParaRPr lang="en-US" dirty="0">
                <a:solidFill>
                  <a:schemeClr val="accent1"/>
                </a:solidFill>
              </a:endParaRPr>
            </a:p>
          </p:txBody>
        </p:sp>
        <p:sp>
          <p:nvSpPr>
            <p:cNvPr id="11951" name="Google Shape;11951;p2"/>
            <p:cNvSpPr/>
            <p:nvPr/>
          </p:nvSpPr>
          <p:spPr>
            <a:xfrm>
              <a:off x="0" y="123188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72D9F5"/>
                </a:gs>
                <a:gs pos="50000">
                  <a:srgbClr val="54D8F9"/>
                </a:gs>
                <a:gs pos="100000">
                  <a:srgbClr val="41C4E3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2" name="Google Shape;11952;p2"/>
            <p:cNvSpPr txBox="1"/>
            <p:nvPr/>
          </p:nvSpPr>
          <p:spPr>
            <a:xfrm>
              <a:off x="37467" y="1269356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3200"/>
                <a:buFont typeface="Calibri"/>
                <a:buNone/>
              </a:pPr>
              <a:r>
                <a:rPr lang="en-US" sz="3200" b="0" i="0" u="none" strike="noStrike" cap="none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BE Data Review</a:t>
              </a:r>
              <a:endParaRPr sz="3200" b="0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53" name="Google Shape;11953;p2"/>
            <p:cNvSpPr/>
            <p:nvPr/>
          </p:nvSpPr>
          <p:spPr>
            <a:xfrm>
              <a:off x="0" y="209156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6AE9C0"/>
                </a:gs>
                <a:gs pos="50000">
                  <a:srgbClr val="4BEDBA"/>
                </a:gs>
                <a:gs pos="100000">
                  <a:srgbClr val="3AD9A7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4" name="Google Shape;11954;p2"/>
            <p:cNvSpPr/>
            <p:nvPr/>
          </p:nvSpPr>
          <p:spPr>
            <a:xfrm>
              <a:off x="0" y="295124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64DC78"/>
                </a:gs>
                <a:gs pos="50000">
                  <a:srgbClr val="44DE60"/>
                </a:gs>
                <a:gs pos="100000">
                  <a:srgbClr val="33CC4F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5" name="Google Shape;11955;p2"/>
            <p:cNvSpPr/>
            <p:nvPr/>
          </p:nvSpPr>
          <p:spPr>
            <a:xfrm>
              <a:off x="0" y="381092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80CE61"/>
                </a:gs>
                <a:gs pos="50000">
                  <a:srgbClr val="6DCE3F"/>
                </a:gs>
                <a:gs pos="100000">
                  <a:srgbClr val="5DBD30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6" name="Google Shape;11956;p2"/>
            <p:cNvSpPr txBox="1"/>
            <p:nvPr/>
          </p:nvSpPr>
          <p:spPr>
            <a:xfrm>
              <a:off x="37467" y="3819642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3200"/>
                <a:buFont typeface="Calibri"/>
                <a:buNone/>
              </a:pPr>
              <a:r>
                <a:rPr lang="en-US" sz="3200" b="0" i="0" u="none" strike="noStrike" cap="none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Additional Resources / Announcements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7" name="Google Shape;11957;p2"/>
            <p:cNvSpPr/>
            <p:nvPr/>
          </p:nvSpPr>
          <p:spPr>
            <a:xfrm>
              <a:off x="0" y="467060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ACBC5F"/>
                </a:gs>
                <a:gs pos="50000">
                  <a:srgbClr val="A4B83F"/>
                </a:gs>
                <a:gs pos="100000">
                  <a:srgbClr val="94A733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8" name="Google Shape;11958;p2"/>
            <p:cNvSpPr txBox="1"/>
            <p:nvPr/>
          </p:nvSpPr>
          <p:spPr>
            <a:xfrm>
              <a:off x="37467" y="4736831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3200"/>
                <a:buFont typeface="Calibri"/>
                <a:buNone/>
              </a:pPr>
              <a:r>
                <a:rPr lang="en-US" sz="3200" b="0" i="0" u="none" strike="noStrike" cap="none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Wrap Up</a:t>
              </a:r>
              <a:endParaRPr/>
            </a:p>
          </p:txBody>
        </p:sp>
        <p:sp>
          <p:nvSpPr>
            <p:cNvPr id="11959" name="Google Shape;11959;p2"/>
            <p:cNvSpPr txBox="1"/>
            <p:nvPr/>
          </p:nvSpPr>
          <p:spPr>
            <a:xfrm>
              <a:off x="37467" y="3006055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3200" dirty="0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Team Sharing: Welcome Teams!</a:t>
              </a:r>
              <a:endParaRPr sz="3200" b="0" i="0" u="none" strike="noStrike" cap="none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960" name="Google Shape;11960;p2"/>
          <p:cNvSpPr txBox="1"/>
          <p:nvPr/>
        </p:nvSpPr>
        <p:spPr>
          <a:xfrm>
            <a:off x="4465693" y="2648223"/>
            <a:ext cx="7206415" cy="692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3200" dirty="0">
                <a:solidFill>
                  <a:schemeClr val="accent1"/>
                </a:solidFill>
                <a:latin typeface="Calibri"/>
                <a:cs typeface="Calibri"/>
                <a:sym typeface="Calibri"/>
              </a:rPr>
              <a:t>Steps to Host a Respectful Care Breakfast</a:t>
            </a:r>
            <a:endParaRPr lang="en-US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DA8D94-D699-4291-9647-FCB3EF269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vite Clinical Team Membe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BF007-5E5F-4CB5-B6B9-B3EF619916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490345"/>
            <a:ext cx="10972800" cy="4351338"/>
          </a:xfrm>
        </p:spPr>
        <p:txBody>
          <a:bodyPr/>
          <a:lstStyle/>
          <a:p>
            <a:r>
              <a:rPr lang="en-US" dirty="0"/>
              <a:t>OB Providers, Nurses (L&amp;D and Postpartum), Charge Nurses,  Social Workers, Unit staff</a:t>
            </a:r>
          </a:p>
          <a:p>
            <a:r>
              <a:rPr lang="en-US" dirty="0"/>
              <a:t>Find a time and location that clinical team members can attend in addition to patients</a:t>
            </a:r>
          </a:p>
          <a:p>
            <a:r>
              <a:rPr lang="en-US" dirty="0"/>
              <a:t>Have name tags ask for first names</a:t>
            </a:r>
          </a:p>
          <a:p>
            <a:r>
              <a:rPr lang="en-US" dirty="0"/>
              <a:t>Encourage Clinical Team Members to attend or ask team members to attend at least one Respectful Care Breakfast across the year if quarterly</a:t>
            </a:r>
          </a:p>
          <a:p>
            <a:r>
              <a:rPr lang="en-US" dirty="0"/>
              <a:t>Provide a basic breakfast and space to mingle or sit</a:t>
            </a:r>
          </a:p>
          <a:p>
            <a:r>
              <a:rPr lang="en-US" dirty="0"/>
              <a:t>Plan first breakfast and then use feedback to make improvements to plan the n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68FFB0-E440-4721-AF25-0E1E01E61CF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8031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E69584-8705-AC7A-4D84-5ED61517D3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1" y="-8094"/>
            <a:ext cx="8887716" cy="1303532"/>
          </a:xfrm>
        </p:spPr>
        <p:txBody>
          <a:bodyPr/>
          <a:lstStyle/>
          <a:p>
            <a:r>
              <a:rPr lang="en-US" sz="3200" dirty="0">
                <a:ea typeface="Lato Medium"/>
                <a:cs typeface="Lato Medium"/>
              </a:rPr>
              <a:t>How do you host a Respectful Care Breakfast?</a:t>
            </a:r>
            <a:br>
              <a:rPr lang="en-US" sz="3200" dirty="0">
                <a:ea typeface="Lato Medium"/>
                <a:cs typeface="Lato Medium"/>
              </a:rPr>
            </a:br>
            <a:r>
              <a:rPr lang="en-US" sz="3200" dirty="0">
                <a:ea typeface="Lato Medium"/>
                <a:cs typeface="Lato Medium"/>
              </a:rPr>
              <a:t>Sample Agenda &amp; Discussion Questions</a:t>
            </a:r>
            <a:endParaRPr lang="en-US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8ECBBB-ACB1-FA42-3112-5F8F9EF4A1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2515" y="1296875"/>
            <a:ext cx="11332028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Lato"/>
                <a:cs typeface="Lato"/>
              </a:rPr>
              <a:t>20 min: Coffee / Breakfast and Mingling (Name tags help!)</a:t>
            </a:r>
          </a:p>
          <a:p>
            <a:r>
              <a:rPr lang="en-US" dirty="0">
                <a:ea typeface="Lato"/>
                <a:cs typeface="Lato"/>
              </a:rPr>
              <a:t>10 min: Welcome / Introduction to ILPQC Birth Equity / Share Respectful Care Practices</a:t>
            </a:r>
            <a:endParaRPr lang="en-US" dirty="0"/>
          </a:p>
          <a:p>
            <a:r>
              <a:rPr lang="en-US" dirty="0">
                <a:ea typeface="Lato"/>
                <a:cs typeface="Lato"/>
              </a:rPr>
              <a:t>30 min: Patient/Community Panel Discussion (3-5 patients/community stakeholder)</a:t>
            </a:r>
          </a:p>
          <a:p>
            <a:pPr lvl="1">
              <a:spcAft>
                <a:spcPts val="0"/>
              </a:spcAft>
              <a:buClr>
                <a:srgbClr val="1C498B"/>
              </a:buClr>
            </a:pPr>
            <a:r>
              <a:rPr lang="en-US" dirty="0">
                <a:ea typeface="Lato"/>
                <a:cs typeface="Lato"/>
              </a:rPr>
              <a:t>Moderator/Facilitator (could be DEI officer at facility, BE Champion, OB leader etc.)</a:t>
            </a:r>
          </a:p>
          <a:p>
            <a:pPr lvl="1">
              <a:spcAft>
                <a:spcPts val="0"/>
              </a:spcAft>
              <a:buClr>
                <a:srgbClr val="1C498B"/>
              </a:buClr>
            </a:pPr>
            <a:r>
              <a:rPr lang="en-US" dirty="0">
                <a:ea typeface="Lato"/>
                <a:cs typeface="Lato"/>
              </a:rPr>
              <a:t>Guided Discussions around how clinical teams can best provide Respectful Care</a:t>
            </a:r>
          </a:p>
          <a:p>
            <a:pPr lvl="1">
              <a:spcAft>
                <a:spcPts val="0"/>
              </a:spcAft>
              <a:buClr>
                <a:srgbClr val="1C498B"/>
              </a:buClr>
            </a:pPr>
            <a:r>
              <a:rPr lang="en-US" dirty="0">
                <a:ea typeface="Lato"/>
                <a:cs typeface="Lato"/>
              </a:rPr>
              <a:t>Sample Discussion Questions:</a:t>
            </a:r>
          </a:p>
          <a:p>
            <a:pPr marL="1257300" lvl="2" indent="-342900">
              <a:buAutoNum type="arabicPeriod"/>
            </a:pPr>
            <a:r>
              <a:rPr lang="en-US" dirty="0">
                <a:ea typeface="Lato"/>
                <a:cs typeface="Lato"/>
              </a:rPr>
              <a:t>What does respectful care mean? What does it look like/feel like for each patient on panel? Any examples where they have experienced Respectful Care in a clinical setting. </a:t>
            </a:r>
          </a:p>
          <a:p>
            <a:pPr marL="1257300" lvl="2" indent="-342900">
              <a:buClr>
                <a:srgbClr val="F5668F"/>
              </a:buClr>
              <a:buAutoNum type="arabicPeriod"/>
            </a:pPr>
            <a:r>
              <a:rPr lang="en-US" dirty="0">
                <a:ea typeface="Lato"/>
                <a:cs typeface="Lato"/>
              </a:rPr>
              <a:t>How can clinical team members best take action on the Respectful Care Practices?  How do we make sure patients feel listened to?  How do we best practice shared decision making? </a:t>
            </a:r>
          </a:p>
          <a:p>
            <a:pPr marL="1257300" lvl="2" indent="-342900">
              <a:buClr>
                <a:srgbClr val="F5668F"/>
              </a:buClr>
              <a:buAutoNum type="arabicPeriod"/>
            </a:pPr>
            <a:r>
              <a:rPr lang="en-US">
                <a:ea typeface="Lato"/>
                <a:cs typeface="Lato"/>
              </a:rPr>
              <a:t>Any PREM Survey elements you are seeing a disparity or use overall ILPQC data.  Ask for input on how to do better.  </a:t>
            </a:r>
          </a:p>
          <a:p>
            <a:pPr lvl="1">
              <a:buClr>
                <a:srgbClr val="1C498B"/>
              </a:buClr>
            </a:pPr>
            <a:endParaRPr lang="en-US">
              <a:ea typeface="Lato"/>
              <a:cs typeface="Lato"/>
            </a:endParaRPr>
          </a:p>
          <a:p>
            <a:pPr lvl="1">
              <a:buClr>
                <a:srgbClr val="1C498B"/>
              </a:buClr>
            </a:pPr>
            <a:endParaRPr lang="en-US">
              <a:ea typeface="Lato"/>
              <a:cs typeface="Lato"/>
            </a:endParaRPr>
          </a:p>
          <a:p>
            <a:pPr lvl="1">
              <a:buClr>
                <a:srgbClr val="1C498B"/>
              </a:buClr>
            </a:pPr>
            <a:endParaRPr lang="en-US">
              <a:ea typeface="Lato"/>
              <a:cs typeface="Lato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502CA5-D818-D37E-84E8-02D11577FB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F67DC8-599F-4C24-E246-109F783C0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92741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8AF99-4B25-36ED-B309-459184FEC2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 you sustain this strategy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A8F7C4-F579-5616-46C0-10C2F95795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  <a:cs typeface="Arial"/>
              </a:rPr>
              <a:t>As we build the equity infrastructure for sustainability, having patient voices and having a consistent opportunity where doctors and nurses can hear patient voices about respectful care is essential. This helps us sustain active implementation of respectful care as a collaborative.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  <a:cs typeface="Arial"/>
              </a:rPr>
              <a:t>Planning for future Respectful Care Breakfasts</a:t>
            </a:r>
          </a:p>
          <a:p>
            <a:pPr lvl="1">
              <a:buClr>
                <a:srgbClr val="1C498B"/>
              </a:buClr>
              <a:buFont typeface="Courier New"/>
              <a:buChar char="o"/>
            </a:pPr>
            <a:r>
              <a:rPr lang="en-US" dirty="0">
                <a:solidFill>
                  <a:schemeClr val="tx1"/>
                </a:solidFill>
                <a:cs typeface="Arial"/>
              </a:rPr>
              <a:t>Quarterly or Biannually</a:t>
            </a:r>
          </a:p>
          <a:p>
            <a:pPr lvl="1">
              <a:buClr>
                <a:srgbClr val="1C498B"/>
              </a:buClr>
              <a:buFont typeface="Courier New"/>
              <a:buChar char="o"/>
            </a:pPr>
            <a:r>
              <a:rPr lang="en-US" dirty="0">
                <a:solidFill>
                  <a:schemeClr val="tx1"/>
                </a:solidFill>
                <a:cs typeface="Arial"/>
              </a:rPr>
              <a:t>Review feedback from previous event and incorporate into your future planning</a:t>
            </a:r>
          </a:p>
          <a:p>
            <a:pPr lvl="1">
              <a:buClr>
                <a:srgbClr val="1C498B"/>
              </a:buClr>
              <a:buFont typeface="Courier New"/>
              <a:buChar char="o"/>
            </a:pPr>
            <a:r>
              <a:rPr lang="en-US" dirty="0">
                <a:solidFill>
                  <a:schemeClr val="tx1"/>
                </a:solidFill>
                <a:cs typeface="Arial"/>
              </a:rPr>
              <a:t>Opportunity to bring new postpartum patients to share their birthing and respectful care experiences</a:t>
            </a:r>
          </a:p>
          <a:p>
            <a:pPr>
              <a:buClr>
                <a:srgbClr val="F5668F"/>
              </a:buClr>
            </a:pPr>
            <a:endParaRPr lang="en-US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589133-D770-DBCB-2342-79A22ABE8B3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82154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3C54F4CE-85F0-46ED-80DA-9518C9251A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DADD1FCA-8ACB-4958-81DD-4CDD6D3E19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53C965-EE0D-441D-96BF-AA4BFFC5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685" y="1543079"/>
            <a:ext cx="3616913" cy="279516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44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Respectful Care Breakfast Planning Resourc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7C472-B7C4-432B-BE68-86FA372741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9954" y="6309458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0BED1F-6F67-418F-8281-4E0D17E741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z="1000" dirty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23</a:t>
            </a:fld>
            <a:endParaRPr lang="en-US" sz="1000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6" name="Picture 6" descr="Text&#10;&#10;Description automatically generated">
            <a:extLst>
              <a:ext uri="{FF2B5EF4-FFF2-40B4-BE49-F238E27FC236}">
                <a16:creationId xmlns:a16="http://schemas.microsoft.com/office/drawing/2014/main" id="{41B853E7-DC83-C695-A9A7-763FA445DA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3273" y="-496"/>
            <a:ext cx="4878946" cy="6858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2095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743AA782-23D1-4521-8CAD-47662984AA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65F772-4602-20E8-F56F-13862200C2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640080"/>
            <a:ext cx="4818888" cy="1481328"/>
          </a:xfr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5000">
                <a:ea typeface="Lato Medium"/>
                <a:cs typeface="Lato Medium"/>
              </a:rPr>
              <a:t>Post-Event Survey</a:t>
            </a:r>
            <a:endParaRPr lang="en-US" sz="5000"/>
          </a:p>
        </p:txBody>
      </p:sp>
      <p:sp>
        <p:nvSpPr>
          <p:cNvPr id="13" name="sketch line">
            <a:extLst>
              <a:ext uri="{FF2B5EF4-FFF2-40B4-BE49-F238E27FC236}">
                <a16:creationId xmlns:a16="http://schemas.microsoft.com/office/drawing/2014/main" id="{71877DBC-BB60-40F0-AC93-2ACDBAAE60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278" y="2372868"/>
            <a:ext cx="3255095" cy="18288"/>
          </a:xfrm>
          <a:custGeom>
            <a:avLst/>
            <a:gdLst>
              <a:gd name="connsiteX0" fmla="*/ 0 w 3255095"/>
              <a:gd name="connsiteY0" fmla="*/ 0 h 18288"/>
              <a:gd name="connsiteX1" fmla="*/ 618468 w 3255095"/>
              <a:gd name="connsiteY1" fmla="*/ 0 h 18288"/>
              <a:gd name="connsiteX2" fmla="*/ 1269487 w 3255095"/>
              <a:gd name="connsiteY2" fmla="*/ 0 h 18288"/>
              <a:gd name="connsiteX3" fmla="*/ 1953057 w 3255095"/>
              <a:gd name="connsiteY3" fmla="*/ 0 h 18288"/>
              <a:gd name="connsiteX4" fmla="*/ 2636627 w 3255095"/>
              <a:gd name="connsiteY4" fmla="*/ 0 h 18288"/>
              <a:gd name="connsiteX5" fmla="*/ 3255095 w 3255095"/>
              <a:gd name="connsiteY5" fmla="*/ 0 h 18288"/>
              <a:gd name="connsiteX6" fmla="*/ 3255095 w 3255095"/>
              <a:gd name="connsiteY6" fmla="*/ 18288 h 18288"/>
              <a:gd name="connsiteX7" fmla="*/ 2538974 w 3255095"/>
              <a:gd name="connsiteY7" fmla="*/ 18288 h 18288"/>
              <a:gd name="connsiteX8" fmla="*/ 1822853 w 3255095"/>
              <a:gd name="connsiteY8" fmla="*/ 18288 h 18288"/>
              <a:gd name="connsiteX9" fmla="*/ 1171834 w 3255095"/>
              <a:gd name="connsiteY9" fmla="*/ 18288 h 18288"/>
              <a:gd name="connsiteX10" fmla="*/ 0 w 3255095"/>
              <a:gd name="connsiteY10" fmla="*/ 18288 h 18288"/>
              <a:gd name="connsiteX11" fmla="*/ 0 w 3255095"/>
              <a:gd name="connsiteY11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stroke="0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8BC924-7B8F-B373-2121-7655F38726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936" y="2660904"/>
            <a:ext cx="4818888" cy="354787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200">
                <a:ea typeface="Lato"/>
                <a:cs typeface="Lato"/>
              </a:rPr>
              <a:t>Key tool in evaluating this effectiveness and acceptability of this strategy for clinical team and community members/ patient partners</a:t>
            </a:r>
            <a:endParaRPr lang="en-US" sz="2200"/>
          </a:p>
          <a:p>
            <a:r>
              <a:rPr lang="en-US" sz="2200">
                <a:ea typeface="Lato"/>
                <a:cs typeface="Lato"/>
              </a:rPr>
              <a:t>Please ask all participants to complete this survey at the end of the event!</a:t>
            </a:r>
          </a:p>
        </p:txBody>
      </p:sp>
      <p:pic>
        <p:nvPicPr>
          <p:cNvPr id="6" name="Picture 6" descr="Qr code&#10;&#10;Description automatically generated">
            <a:extLst>
              <a:ext uri="{FF2B5EF4-FFF2-40B4-BE49-F238E27FC236}">
                <a16:creationId xmlns:a16="http://schemas.microsoft.com/office/drawing/2014/main" id="{59EB8176-6872-DACB-1653-47FEDFE310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3452" y="640080"/>
            <a:ext cx="4490160" cy="557784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841AF1-0C99-0B6F-2DC1-B81A03BC4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181A2B-00DB-E58E-1231-2791B6CF8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85243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78" name="Google Shape;12678;p118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en-US" dirty="0"/>
              <a:t>Team Sharing</a:t>
            </a:r>
            <a:endParaRPr dirty="0"/>
          </a:p>
        </p:txBody>
      </p:sp>
      <p:sp>
        <p:nvSpPr>
          <p:cNvPr id="12679" name="Google Shape;12679;p118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en-US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AB678E-C4C5-8115-9046-708BE5617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28353-46D8-92C0-B776-26D86E19B320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dirty="0"/>
              <a:t>FHN Memorial Hospita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6CB906-7DBE-3201-28AD-4AA9B4F9F04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1800" b="0" i="0" u="none" strike="noStrike" dirty="0">
                <a:solidFill>
                  <a:srgbClr val="444C55"/>
                </a:solidFill>
                <a:effectLst/>
                <a:latin typeface="Calibri" panose="020F0502020204030204" pitchFamily="34" charset="0"/>
              </a:rPr>
              <a:t>Keri Schubert, RNC-MNN, BSN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2733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8E2662-E906-C077-FCD3-68C57AB7C459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dirty="0"/>
              <a:t>Alexian Brothers Women and Children’s Hospita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773C948-A2BE-0588-9214-9A14288BEB0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1800" b="0" i="0" u="none" strike="noStrike" dirty="0">
                <a:solidFill>
                  <a:srgbClr val="444C55"/>
                </a:solidFill>
                <a:effectLst/>
                <a:latin typeface="Calibri" panose="020F0502020204030204" pitchFamily="34" charset="0"/>
              </a:rPr>
              <a:t>Natalie Hawkins, MSN, RN, CNL, RNC-OB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12303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AAB9F-FE01-044C-8F5A-AE148EC3D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acNeal</a:t>
            </a:r>
            <a:r>
              <a:rPr lang="en-US" dirty="0"/>
              <a:t> Hospita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0DAB37-4F9E-7F95-EE23-576CCBB7E49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z="1800" b="0" i="0" u="none" strike="noStrike" dirty="0">
                <a:solidFill>
                  <a:srgbClr val="444C55"/>
                </a:solidFill>
                <a:effectLst/>
                <a:latin typeface="Calibri" panose="020F0502020204030204" pitchFamily="34" charset="0"/>
              </a:rPr>
              <a:t>Karen Richardson, MSN, RN, RNC-OB, C-EFM</a:t>
            </a:r>
            <a:r>
              <a:rPr lang="de-DE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4052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4" name="Google Shape;12684;p36"/>
          <p:cNvSpPr txBox="1">
            <a:spLocks noGrp="1"/>
          </p:cNvSpPr>
          <p:nvPr>
            <p:ph type="title"/>
          </p:nvPr>
        </p:nvSpPr>
        <p:spPr>
          <a:xfrm>
            <a:off x="1413310" y="1022009"/>
            <a:ext cx="10270945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Additional Resources / Announcements</a:t>
            </a:r>
            <a:endParaRPr/>
          </a:p>
        </p:txBody>
      </p:sp>
      <p:sp>
        <p:nvSpPr>
          <p:cNvPr id="12685" name="Google Shape;12685;p3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7675728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</a:pPr>
            <a:endParaRPr sz="2600" b="1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336674" y="1550229"/>
            <a:ext cx="3027790" cy="1416510"/>
          </a:xfrm>
          <a:custGeom>
            <a:avLst/>
            <a:gdLst/>
            <a:ahLst/>
            <a:cxnLst/>
            <a:rect l="l" t="t" r="r" b="b"/>
            <a:pathLst>
              <a:path w="4541685" h="2124765">
                <a:moveTo>
                  <a:pt x="0" y="0"/>
                </a:moveTo>
                <a:lnTo>
                  <a:pt x="4541685" y="0"/>
                </a:lnTo>
                <a:lnTo>
                  <a:pt x="4541685" y="2124765"/>
                </a:lnTo>
                <a:lnTo>
                  <a:pt x="0" y="2124765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sp>
      <p:grpSp>
        <p:nvGrpSpPr>
          <p:cNvPr id="3" name="Group 3"/>
          <p:cNvGrpSpPr/>
          <p:nvPr/>
        </p:nvGrpSpPr>
        <p:grpSpPr>
          <a:xfrm>
            <a:off x="238317" y="3188989"/>
            <a:ext cx="5883121" cy="2700867"/>
            <a:chOff x="0" y="0"/>
            <a:chExt cx="2324196" cy="1067009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324196" cy="1067009"/>
            </a:xfrm>
            <a:custGeom>
              <a:avLst/>
              <a:gdLst/>
              <a:ahLst/>
              <a:cxnLst/>
              <a:rect l="l" t="t" r="r" b="b"/>
              <a:pathLst>
                <a:path w="2324196" h="1067009">
                  <a:moveTo>
                    <a:pt x="44742" y="0"/>
                  </a:moveTo>
                  <a:lnTo>
                    <a:pt x="2279454" y="0"/>
                  </a:lnTo>
                  <a:cubicBezTo>
                    <a:pt x="2304164" y="0"/>
                    <a:pt x="2324196" y="20032"/>
                    <a:pt x="2324196" y="44742"/>
                  </a:cubicBezTo>
                  <a:lnTo>
                    <a:pt x="2324196" y="1022267"/>
                  </a:lnTo>
                  <a:cubicBezTo>
                    <a:pt x="2324196" y="1046977"/>
                    <a:pt x="2304164" y="1067009"/>
                    <a:pt x="2279454" y="1067009"/>
                  </a:cubicBezTo>
                  <a:lnTo>
                    <a:pt x="44742" y="1067009"/>
                  </a:lnTo>
                  <a:cubicBezTo>
                    <a:pt x="20032" y="1067009"/>
                    <a:pt x="0" y="1046977"/>
                    <a:pt x="0" y="1022267"/>
                  </a:cubicBezTo>
                  <a:lnTo>
                    <a:pt x="0" y="44742"/>
                  </a:lnTo>
                  <a:cubicBezTo>
                    <a:pt x="0" y="20032"/>
                    <a:pt x="20032" y="0"/>
                    <a:pt x="44742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33350" cap="rnd">
              <a:solidFill>
                <a:srgbClr val="144B90"/>
              </a:solidFill>
              <a:prstDash val="solid"/>
              <a:round/>
            </a:ln>
          </p:spPr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2324196" cy="110510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6" name="Freeform 6"/>
          <p:cNvSpPr/>
          <p:nvPr/>
        </p:nvSpPr>
        <p:spPr>
          <a:xfrm flipH="1">
            <a:off x="6500845" y="3539704"/>
            <a:ext cx="5435579" cy="1983986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</p:sp>
      <p:sp>
        <p:nvSpPr>
          <p:cNvPr id="7" name="TextBox 7"/>
          <p:cNvSpPr txBox="1"/>
          <p:nvPr/>
        </p:nvSpPr>
        <p:spPr>
          <a:xfrm>
            <a:off x="4372039" y="1760750"/>
            <a:ext cx="7955264" cy="110382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2024 OB &amp; Neonatal </a:t>
            </a:r>
          </a:p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Face-to-Face Meetings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1336674" y="649404"/>
            <a:ext cx="9245237" cy="114351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092"/>
              </a:lnSpc>
            </a:pPr>
            <a:r>
              <a:rPr lang="en-US" sz="9868" spc="957">
                <a:solidFill>
                  <a:srgbClr val="144B90"/>
                </a:solidFill>
                <a:latin typeface="Staatliches"/>
              </a:rPr>
              <a:t>save the date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621792" y="6209752"/>
            <a:ext cx="11307852" cy="3483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918"/>
              </a:lnSpc>
            </a:pPr>
            <a:r>
              <a:rPr lang="en-US" sz="2050" i="1">
                <a:solidFill>
                  <a:srgbClr val="144B90"/>
                </a:solidFill>
                <a:latin typeface="Prompt Italics"/>
              </a:rPr>
              <a:t>Join us for two interactive days of collaborative learning with the IL Perinatal Quality Collaborative!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575189" y="3864626"/>
            <a:ext cx="2720421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>
                <a:solidFill>
                  <a:schemeClr val="accent6"/>
                </a:solidFill>
                <a:latin typeface="Cambria"/>
                <a:ea typeface="Cambria"/>
              </a:rPr>
              <a:t>MAY 22ND, 2024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555911" y="3539704"/>
            <a:ext cx="2108092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 b="1">
                <a:solidFill>
                  <a:srgbClr val="144B90"/>
                </a:solidFill>
                <a:latin typeface="Cambria"/>
                <a:ea typeface="Cambria"/>
              </a:rPr>
              <a:t>OB TEAMS: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555912" y="5174923"/>
            <a:ext cx="2449487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>
                <a:solidFill>
                  <a:schemeClr val="accent6"/>
                </a:solidFill>
                <a:latin typeface="Cambria"/>
                <a:ea typeface="Cambria"/>
              </a:rPr>
              <a:t>MAY 23RD, 2024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575189" y="4451023"/>
            <a:ext cx="3468303" cy="73206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NEONATAL </a:t>
            </a:r>
          </a:p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TEAMS: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3257602" y="3824546"/>
            <a:ext cx="2701691" cy="15656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at the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President Abraham Lincoln Doubletree Hotel </a:t>
            </a:r>
          </a:p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in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Springfield, IL 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704996" y="3812489"/>
            <a:ext cx="4702289" cy="14056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667"/>
              </a:lnSpc>
            </a:pPr>
            <a:r>
              <a:rPr lang="en-US" sz="2619" b="1">
                <a:solidFill>
                  <a:srgbClr val="144B90"/>
                </a:solidFill>
                <a:latin typeface="Prompt"/>
              </a:rPr>
              <a:t>Calling ALL Perinatal Leaders, Providers, Nurses, Advocates, &amp; Friends!</a:t>
            </a:r>
          </a:p>
        </p:txBody>
      </p:sp>
    </p:spTree>
    <p:extLst>
      <p:ext uri="{BB962C8B-B14F-4D97-AF65-F5344CB8AC3E}">
        <p14:creationId xmlns:p14="http://schemas.microsoft.com/office/powerpoint/2010/main" val="131065572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C79ECFA-931F-4184-1F20-CBCC34AEA7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7655" y="1146258"/>
            <a:ext cx="3773010" cy="2971798"/>
          </a:xfrm>
        </p:spPr>
        <p:txBody>
          <a:bodyPr/>
          <a:lstStyle/>
          <a:p>
            <a:pPr algn="ctr"/>
            <a:r>
              <a:rPr lang="en-US" sz="3600" b="1" dirty="0"/>
              <a:t>Birth Equity QI Office Hours Announcement</a:t>
            </a:r>
          </a:p>
        </p:txBody>
      </p:sp>
      <p:pic>
        <p:nvPicPr>
          <p:cNvPr id="5" name="Picture Placeholder 4" descr="A qr code on a blue background&#10;&#10;Description automatically generated">
            <a:extLst>
              <a:ext uri="{FF2B5EF4-FFF2-40B4-BE49-F238E27FC236}">
                <a16:creationId xmlns:a16="http://schemas.microsoft.com/office/drawing/2014/main" id="{8158A55A-5B9A-3B25-B9B6-CAF3E84A775B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2"/>
          <a:srcRect t="1584" b="4419"/>
          <a:stretch/>
        </p:blipFill>
        <p:spPr>
          <a:xfrm>
            <a:off x="4154748" y="170313"/>
            <a:ext cx="6933461" cy="6517374"/>
          </a:xfrm>
        </p:spPr>
      </p:pic>
    </p:spTree>
    <p:extLst>
      <p:ext uri="{BB962C8B-B14F-4D97-AF65-F5344CB8AC3E}">
        <p14:creationId xmlns:p14="http://schemas.microsoft.com/office/powerpoint/2010/main" val="66481865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FAA9EF-626F-ACEE-9AA6-A919AF922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7788676" cy="1325563"/>
          </a:xfrm>
        </p:spPr>
        <p:txBody>
          <a:bodyPr/>
          <a:lstStyle/>
          <a:p>
            <a:r>
              <a:rPr lang="en-US" dirty="0"/>
              <a:t>BE 30-60-90 Day Plan to Engage Patient Partne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AADBE-8684-6053-5D1A-7547B4A914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800" dirty="0"/>
              <a:t>For every hospital team working to identify and engage a patient partner on their QI team, please create a 30-60-90 day plan to share with ILPQC</a:t>
            </a:r>
          </a:p>
          <a:p>
            <a:r>
              <a:rPr lang="en-US" sz="2800" dirty="0"/>
              <a:t>Email your 30-60-90 day plan to </a:t>
            </a:r>
            <a:r>
              <a:rPr lang="en-US" sz="2800" dirty="0">
                <a:hlinkClick r:id="rId2"/>
              </a:rPr>
              <a:t>info@ilpqc.org</a:t>
            </a:r>
            <a:r>
              <a:rPr lang="en-US" sz="2800" dirty="0"/>
              <a:t> and feature it on your team’s storyboard at Face-to-Face on May 22</a:t>
            </a:r>
            <a:r>
              <a:rPr lang="en-US" sz="2800" baseline="30000" dirty="0"/>
              <a:t>nd</a:t>
            </a:r>
            <a:r>
              <a:rPr lang="en-US" sz="2800" dirty="0"/>
              <a:t>!</a:t>
            </a:r>
          </a:p>
          <a:p>
            <a:r>
              <a:rPr lang="en-US" sz="2800" dirty="0"/>
              <a:t>Example on next slide</a:t>
            </a:r>
          </a:p>
          <a:p>
            <a:pPr lvl="1"/>
            <a:r>
              <a:rPr lang="en-US" sz="2400" dirty="0"/>
              <a:t>Create your own </a:t>
            </a:r>
            <a:r>
              <a:rPr lang="en-US" sz="2400" dirty="0">
                <a:hlinkClick r:id="rId3"/>
              </a:rPr>
              <a:t>30-60-90 day plan here</a:t>
            </a:r>
            <a:endParaRPr lang="en-US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84B927-74DD-6164-239B-76438D5A5D0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63505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A3180A-9A97-CFA8-DAEA-98A986C9D5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-105391"/>
            <a:ext cx="10972800" cy="1325563"/>
          </a:xfrm>
        </p:spPr>
        <p:txBody>
          <a:bodyPr/>
          <a:lstStyle/>
          <a:p>
            <a:r>
              <a:rPr lang="en-US" dirty="0"/>
              <a:t>Example 30-60-90 Day Pla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FC62F8-D4F1-CBAA-52BA-0DDC5E7EB7A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32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8E2B180-E870-A0A1-4560-20DD7DF3DF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1450" y="926019"/>
            <a:ext cx="7998780" cy="5931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09724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0" name="Google Shape;12690;p1190"/>
          <p:cNvSpPr txBox="1">
            <a:spLocks noGrp="1"/>
          </p:cNvSpPr>
          <p:nvPr>
            <p:ph type="title"/>
          </p:nvPr>
        </p:nvSpPr>
        <p:spPr>
          <a:xfrm>
            <a:off x="667110" y="342269"/>
            <a:ext cx="3755367" cy="5661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/>
              <a:t>PQI SPEAK UP Champion Training Announcement – April 12th &amp; 19th 2024!</a:t>
            </a:r>
            <a:br>
              <a:rPr lang="en-US"/>
            </a:br>
            <a:br>
              <a:rPr lang="en-US"/>
            </a:br>
            <a:r>
              <a:rPr lang="en-US"/>
              <a:t>ILPQC sponsored FREE 2-day training</a:t>
            </a:r>
            <a:endParaRPr/>
          </a:p>
        </p:txBody>
      </p:sp>
      <p:sp>
        <p:nvSpPr>
          <p:cNvPr id="12691" name="Google Shape;12691;p1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33</a:t>
            </a:fld>
            <a:endParaRPr/>
          </a:p>
        </p:txBody>
      </p:sp>
      <p:pic>
        <p:nvPicPr>
          <p:cNvPr id="12692" name="Google Shape;12692;p1190" descr="A white and green flyer with a qr cod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880902" y="49719"/>
            <a:ext cx="6645214" cy="667396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669AE9-0CE7-0B80-D772-AAF207E72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637" y="2365615"/>
            <a:ext cx="5169763" cy="1143000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IDPH resources to address</a:t>
            </a:r>
            <a:br>
              <a:rPr lang="en-US" b="1" dirty="0"/>
            </a:br>
            <a:r>
              <a:rPr lang="en-US" b="1" dirty="0"/>
              <a:t>increasing incidence of STIs </a:t>
            </a:r>
            <a:br>
              <a:rPr lang="en-US" b="1" dirty="0"/>
            </a:br>
            <a:br>
              <a:rPr lang="en-US" dirty="0"/>
            </a:br>
            <a:r>
              <a:rPr lang="en-US" dirty="0"/>
              <a:t>Congenital Syphilis Cases in Illinois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41E9D374-8229-BA23-4617-C6DD96CF5B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8924740"/>
              </p:ext>
            </p:extLst>
          </p:nvPr>
        </p:nvGraphicFramePr>
        <p:xfrm>
          <a:off x="5898248" y="513533"/>
          <a:ext cx="5531766" cy="50773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D7882338-2833-39A7-7093-E5AD4E85B3B6}"/>
              </a:ext>
            </a:extLst>
          </p:cNvPr>
          <p:cNvSpPr txBox="1"/>
          <p:nvPr/>
        </p:nvSpPr>
        <p:spPr>
          <a:xfrm>
            <a:off x="6518650" y="3798332"/>
            <a:ext cx="989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latino Linotype"/>
                <a:ea typeface="+mn-ea"/>
                <a:cs typeface="+mn-cs"/>
              </a:rPr>
              <a:t>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ADF7FDA-20B4-7E12-E521-26E0E4285BC3}"/>
              </a:ext>
            </a:extLst>
          </p:cNvPr>
          <p:cNvSpPr txBox="1"/>
          <p:nvPr/>
        </p:nvSpPr>
        <p:spPr>
          <a:xfrm>
            <a:off x="7377037" y="3429000"/>
            <a:ext cx="4242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latino Linotype"/>
                <a:ea typeface="+mn-ea"/>
                <a:cs typeface="+mn-cs"/>
              </a:rPr>
              <a:t>30</a:t>
            </a:r>
          </a:p>
        </p:txBody>
      </p:sp>
    </p:spTree>
    <p:extLst>
      <p:ext uri="{BB962C8B-B14F-4D97-AF65-F5344CB8AC3E}">
        <p14:creationId xmlns:p14="http://schemas.microsoft.com/office/powerpoint/2010/main" val="264631609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D988DD7-D1F0-291C-B2EE-2746ED35594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4690" y="524426"/>
            <a:ext cx="11042543" cy="1325562"/>
          </a:xfrm>
        </p:spPr>
        <p:txBody>
          <a:bodyPr>
            <a:normAutofit/>
          </a:bodyPr>
          <a:lstStyle/>
          <a:p>
            <a:pPr algn="ctr"/>
            <a:r>
              <a:rPr lang="en-US" sz="4400" dirty="0"/>
              <a:t>Perinatal syphilis warmline launched 11/1/2023</a:t>
            </a:r>
            <a:br>
              <a:rPr lang="en-US" sz="4400" dirty="0"/>
            </a:br>
            <a:endParaRPr lang="en-US" dirty="0"/>
          </a:p>
        </p:txBody>
      </p:sp>
      <p:pic>
        <p:nvPicPr>
          <p:cNvPr id="7" name="Picture 6" descr="A red telephone with a black cord&#10;&#10;Description automatically generated with low confidence">
            <a:extLst>
              <a:ext uri="{FF2B5EF4-FFF2-40B4-BE49-F238E27FC236}">
                <a16:creationId xmlns:a16="http://schemas.microsoft.com/office/drawing/2014/main" id="{992E6646-7C6A-EA80-014C-680B68C939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69"/>
          <a:stretch/>
        </p:blipFill>
        <p:spPr>
          <a:xfrm>
            <a:off x="1527723" y="2703690"/>
            <a:ext cx="2002682" cy="145061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7D51237-02A2-63F1-5827-5FB3C9DC147F}"/>
              </a:ext>
            </a:extLst>
          </p:cNvPr>
          <p:cNvSpPr txBox="1"/>
          <p:nvPr/>
        </p:nvSpPr>
        <p:spPr>
          <a:xfrm>
            <a:off x="1283777" y="4423236"/>
            <a:ext cx="30582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800) 439-4079</a:t>
            </a:r>
          </a:p>
        </p:txBody>
      </p:sp>
      <p:pic>
        <p:nvPicPr>
          <p:cNvPr id="2" name="Picture 1" descr="Text&#10;&#10;Description automatically generated">
            <a:extLst>
              <a:ext uri="{FF2B5EF4-FFF2-40B4-BE49-F238E27FC236}">
                <a16:creationId xmlns:a16="http://schemas.microsoft.com/office/drawing/2014/main" id="{66491681-D173-9888-5508-4D9ECB5B28C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8" t="2983" r="6728" b="35876"/>
          <a:stretch/>
        </p:blipFill>
        <p:spPr>
          <a:xfrm>
            <a:off x="4783539" y="2046316"/>
            <a:ext cx="6500455" cy="3624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09752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6A34791-2D04-2271-E6D9-5EF7DD4DC5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3843" y="65730"/>
            <a:ext cx="8229600" cy="1143000"/>
          </a:xfrm>
        </p:spPr>
        <p:txBody>
          <a:bodyPr>
            <a:normAutofit/>
          </a:bodyPr>
          <a:lstStyle/>
          <a:p>
            <a:r>
              <a:rPr lang="en-US" dirty="0"/>
              <a:t>All IDPH resources in one place!</a:t>
            </a:r>
          </a:p>
        </p:txBody>
      </p:sp>
      <p:pic>
        <p:nvPicPr>
          <p:cNvPr id="14" name="Picture 13" descr="Text&#10;&#10;Description automatically generated with medium confidence">
            <a:extLst>
              <a:ext uri="{FF2B5EF4-FFF2-40B4-BE49-F238E27FC236}">
                <a16:creationId xmlns:a16="http://schemas.microsoft.com/office/drawing/2014/main" id="{CB683032-8A56-C7FD-1478-DDC391650E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550" y="1071437"/>
            <a:ext cx="4644325" cy="578656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2D04E07-82B6-9FB9-A5F2-F9D2E1917EA1}"/>
              </a:ext>
            </a:extLst>
          </p:cNvPr>
          <p:cNvSpPr txBox="1"/>
          <p:nvPr/>
        </p:nvSpPr>
        <p:spPr>
          <a:xfrm>
            <a:off x="3810000" y="3200089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 descr="Qr code&#10;&#10;Description automatically generated">
            <a:extLst>
              <a:ext uri="{FF2B5EF4-FFF2-40B4-BE49-F238E27FC236}">
                <a16:creationId xmlns:a16="http://schemas.microsoft.com/office/drawing/2014/main" id="{C4D418DD-816B-C42B-A76C-58CDBDE5277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8" t="2089"/>
          <a:stretch/>
        </p:blipFill>
        <p:spPr>
          <a:xfrm>
            <a:off x="7054647" y="1588673"/>
            <a:ext cx="3082412" cy="311097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899329F-AB5A-B604-D222-9D245510C63A}"/>
              </a:ext>
            </a:extLst>
          </p:cNvPr>
          <p:cNvSpPr txBox="1"/>
          <p:nvPr/>
        </p:nvSpPr>
        <p:spPr>
          <a:xfrm>
            <a:off x="7143136" y="4899996"/>
            <a:ext cx="31340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an above for resource list!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F19ED6-7911-C515-FDF6-10B022238A42}"/>
              </a:ext>
            </a:extLst>
          </p:cNvPr>
          <p:cNvSpPr txBox="1"/>
          <p:nvPr/>
        </p:nvSpPr>
        <p:spPr>
          <a:xfrm>
            <a:off x="6096000" y="5649271"/>
            <a:ext cx="6580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ch out with questions: Maura.Quinlan@illinois.gov</a:t>
            </a:r>
          </a:p>
        </p:txBody>
      </p:sp>
    </p:spTree>
    <p:extLst>
      <p:ext uri="{BB962C8B-B14F-4D97-AF65-F5344CB8AC3E}">
        <p14:creationId xmlns:p14="http://schemas.microsoft.com/office/powerpoint/2010/main" val="29500966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003E3-5021-4ADE-A2E1-B5AF2FC378B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br>
              <a:rPr lang="en-US" sz="4400" dirty="0"/>
            </a:br>
            <a:br>
              <a:rPr lang="en-US" sz="6000" dirty="0"/>
            </a:br>
            <a:br>
              <a:rPr lang="en-US" sz="6000" dirty="0"/>
            </a:br>
            <a:br>
              <a:rPr lang="en-US" sz="6000" dirty="0"/>
            </a:br>
            <a:br>
              <a:rPr lang="en-US" sz="6000" dirty="0"/>
            </a:br>
            <a:br>
              <a:rPr lang="en-US" sz="6000" dirty="0"/>
            </a:br>
            <a:r>
              <a:rPr lang="en-US" sz="4400" dirty="0">
                <a:cs typeface="Calibri Light"/>
              </a:rPr>
              <a:t>                    </a:t>
            </a:r>
            <a:r>
              <a:rPr lang="en-US" sz="4400" b="1" dirty="0">
                <a:cs typeface="Calibri Light"/>
              </a:rPr>
              <a:t>   Illinois MIECHV</a:t>
            </a:r>
            <a:r>
              <a:rPr lang="en-US" sz="4400" dirty="0">
                <a:cs typeface="Calibri Light"/>
              </a:rPr>
              <a:t> </a:t>
            </a:r>
            <a:br>
              <a:rPr lang="en-US" sz="4400" dirty="0">
                <a:cs typeface="Calibri Light"/>
              </a:rPr>
            </a:br>
            <a:br>
              <a:rPr lang="en-US" sz="4400" dirty="0">
                <a:cs typeface="Calibri Light"/>
              </a:rPr>
            </a:br>
            <a:r>
              <a:rPr lang="en-US" sz="4400" dirty="0">
                <a:highlight>
                  <a:srgbClr val="FFFF00"/>
                </a:highlight>
                <a:cs typeface="Calibri Light"/>
              </a:rPr>
              <a:t>Working Together To Improve The Lives of    Mom’s and Babies</a:t>
            </a:r>
            <a:br>
              <a:rPr lang="en-US" sz="4400" dirty="0">
                <a:highlight>
                  <a:srgbClr val="FFFF00"/>
                </a:highlight>
                <a:cs typeface="Calibri Light"/>
              </a:rPr>
            </a:br>
            <a:endParaRPr lang="en-US" sz="4400" dirty="0">
              <a:highlight>
                <a:srgbClr val="FFFF00"/>
              </a:highlight>
              <a:cs typeface="Calibri Light"/>
            </a:endParaRPr>
          </a:p>
        </p:txBody>
      </p:sp>
      <p:pic>
        <p:nvPicPr>
          <p:cNvPr id="5" name="image1.png">
            <a:extLst>
              <a:ext uri="{FF2B5EF4-FFF2-40B4-BE49-F238E27FC236}">
                <a16:creationId xmlns:a16="http://schemas.microsoft.com/office/drawing/2014/main" id="{02FC3BC0-87AC-4799-A126-A458692ED633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0933" y="203200"/>
            <a:ext cx="3031067" cy="1151467"/>
          </a:xfrm>
          <a:prstGeom prst="rect">
            <a:avLst/>
          </a:prstGeom>
        </p:spPr>
      </p:pic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lendean Burton MPH, BSN, RN, CLC</a:t>
            </a:r>
          </a:p>
          <a:p>
            <a:r>
              <a:rPr lang="en-US" dirty="0" err="1"/>
              <a:t>Mch</a:t>
            </a:r>
            <a:r>
              <a:rPr lang="en-US" dirty="0"/>
              <a:t> Nurse Consultant- Illinois MIECHV</a:t>
            </a:r>
          </a:p>
        </p:txBody>
      </p:sp>
    </p:spTree>
    <p:extLst>
      <p:ext uri="{BB962C8B-B14F-4D97-AF65-F5344CB8AC3E}">
        <p14:creationId xmlns:p14="http://schemas.microsoft.com/office/powerpoint/2010/main" val="134022093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F5E263C-FB7E-4A3E-AD04-5140CD3D1D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6315" cy="6858000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001">
            <a:schemeClr val="lt1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E65ED8C-90F7-4EB0-ACCB-64AEF411E8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0C8F44-2D37-BB52-98A6-5D79DD158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2370" y="516835"/>
            <a:ext cx="3084844" cy="5772840"/>
          </a:xfrm>
        </p:spPr>
        <p:txBody>
          <a:bodyPr anchor="ctr">
            <a:normAutofit/>
          </a:bodyPr>
          <a:lstStyle/>
          <a:p>
            <a:r>
              <a:rPr lang="en-US" sz="3600">
                <a:solidFill>
                  <a:srgbClr val="FFFFFF"/>
                </a:solidFill>
              </a:rPr>
              <a:t>WHAT IS MIECHV????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04E3BF-88F7-4D19-BEC9-8486966EA4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3793870C-443A-5541-AB7A-6873CB8B046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741863" y="639763"/>
          <a:ext cx="6797675" cy="5649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1918960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741B58E-3B65-4A01-A276-975AB2CF8A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6315" cy="6858000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001">
            <a:schemeClr val="lt1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AAC67C3-831B-4AB1-A259-DFB839CAF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21C852-C60C-BDE4-E5BA-8CBEB6C2B8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2370" y="605896"/>
            <a:ext cx="3084844" cy="5646208"/>
          </a:xfrm>
        </p:spPr>
        <p:txBody>
          <a:bodyPr anchor="ctr">
            <a:normAutofit/>
          </a:bodyPr>
          <a:lstStyle/>
          <a:p>
            <a:r>
              <a:rPr lang="en-US" sz="3600">
                <a:solidFill>
                  <a:srgbClr val="FFFFFF"/>
                </a:solidFill>
              </a:rPr>
              <a:t>We Want To Be Part of Your Discharge Plans!</a:t>
            </a:r>
            <a:br>
              <a:rPr lang="en-US" sz="3600">
                <a:solidFill>
                  <a:srgbClr val="FFFFFF"/>
                </a:solidFill>
              </a:rPr>
            </a:br>
            <a:endParaRPr lang="en-US" sz="3600">
              <a:solidFill>
                <a:srgbClr val="FFFFFF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4B3F04-9EAC-45C0-B3CE-0387EEA10A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B7A943-8547-78A1-C39D-B814BA9CD6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42016" y="605896"/>
            <a:ext cx="6413663" cy="5646208"/>
          </a:xfrm>
        </p:spPr>
        <p:txBody>
          <a:bodyPr anchor="ctr">
            <a:normAutofit/>
          </a:bodyPr>
          <a:lstStyle/>
          <a:p>
            <a:r>
              <a:rPr lang="en-US" dirty="0"/>
              <a:t>Staff Inservice- Virtual or In-person</a:t>
            </a:r>
          </a:p>
          <a:p>
            <a:r>
              <a:rPr lang="en-US" dirty="0"/>
              <a:t>30 minute presentation</a:t>
            </a:r>
          </a:p>
          <a:p>
            <a:r>
              <a:rPr lang="en-US" dirty="0"/>
              <a:t>Overview of HV, what families are eligible, how to refer</a:t>
            </a:r>
          </a:p>
          <a:p>
            <a:r>
              <a:rPr lang="en-US" dirty="0"/>
              <a:t>Assistance in connection with local providers</a:t>
            </a:r>
          </a:p>
          <a:p>
            <a:r>
              <a:rPr lang="en-US" dirty="0"/>
              <a:t>Contact Information: </a:t>
            </a:r>
          </a:p>
          <a:p>
            <a:r>
              <a:rPr lang="en-US" dirty="0"/>
              <a:t>           Glendean Burton MPH, BSN, RN, CLC</a:t>
            </a:r>
          </a:p>
          <a:p>
            <a:r>
              <a:rPr lang="en-US" dirty="0"/>
              <a:t>           MCH Nurse Consultant- Illinois MIECHV</a:t>
            </a:r>
          </a:p>
          <a:p>
            <a:r>
              <a:rPr lang="en-US" dirty="0"/>
              <a:t>           </a:t>
            </a:r>
            <a:r>
              <a:rPr lang="en-US" dirty="0">
                <a:hlinkClick r:id="rId2"/>
              </a:rPr>
              <a:t>glendeanburton@hotmail.com</a:t>
            </a:r>
            <a:endParaRPr lang="en-US" dirty="0"/>
          </a:p>
          <a:p>
            <a:r>
              <a:rPr lang="en-US" dirty="0"/>
              <a:t>           Text:630-319-9706</a:t>
            </a:r>
          </a:p>
          <a:p>
            <a:endParaRPr lang="en-US" dirty="0"/>
          </a:p>
          <a:p>
            <a:r>
              <a:rPr lang="en-US" dirty="0"/>
              <a:t>I look forward to working with you!</a:t>
            </a:r>
          </a:p>
        </p:txBody>
      </p:sp>
    </p:spTree>
    <p:extLst>
      <p:ext uri="{BB962C8B-B14F-4D97-AF65-F5344CB8AC3E}">
        <p14:creationId xmlns:p14="http://schemas.microsoft.com/office/powerpoint/2010/main" val="5865750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5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C85AA37-0DF0-577D-12F0-0C47C61305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">
            <a:extLst>
              <a:ext uri="{FF2B5EF4-FFF2-40B4-BE49-F238E27FC236}">
                <a16:creationId xmlns:a16="http://schemas.microsoft.com/office/drawing/2014/main" id="{1CC47398-47D1-3991-0095-85F08C7014B2}"/>
              </a:ext>
            </a:extLst>
          </p:cNvPr>
          <p:cNvSpPr/>
          <p:nvPr/>
        </p:nvSpPr>
        <p:spPr>
          <a:xfrm>
            <a:off x="5696651" y="218534"/>
            <a:ext cx="6152571" cy="2357797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15" name="TextBox 15">
            <a:extLst>
              <a:ext uri="{FF2B5EF4-FFF2-40B4-BE49-F238E27FC236}">
                <a16:creationId xmlns:a16="http://schemas.microsoft.com/office/drawing/2014/main" id="{72552A16-8979-8328-044D-EB965134F322}"/>
              </a:ext>
            </a:extLst>
          </p:cNvPr>
          <p:cNvSpPr txBox="1"/>
          <p:nvPr/>
        </p:nvSpPr>
        <p:spPr>
          <a:xfrm>
            <a:off x="6762505" y="692602"/>
            <a:ext cx="4702289" cy="140487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667"/>
              </a:lnSpc>
            </a:pPr>
            <a:r>
              <a:rPr lang="en-US" sz="2600" b="1">
                <a:solidFill>
                  <a:srgbClr val="144B90"/>
                </a:solidFill>
                <a:latin typeface="Prompt"/>
                <a:ea typeface="+mn-lt"/>
                <a:cs typeface="Prompt"/>
              </a:rPr>
              <a:t>Interested in Facilitating an ILPQC Face-to-Face </a:t>
            </a:r>
            <a:endParaRPr lang="en-US">
              <a:solidFill>
                <a:srgbClr val="000000"/>
              </a:solidFill>
              <a:latin typeface="Calibri"/>
              <a:ea typeface="+mn-lt"/>
              <a:cs typeface="Calibri"/>
            </a:endParaRPr>
          </a:p>
          <a:p>
            <a:pPr algn="ctr">
              <a:lnSpc>
                <a:spcPts val="3667"/>
              </a:lnSpc>
            </a:pPr>
            <a:r>
              <a:rPr lang="en-US" sz="2600" b="1">
                <a:solidFill>
                  <a:srgbClr val="144B90"/>
                </a:solidFill>
                <a:latin typeface="Prompt"/>
                <a:ea typeface="+mn-lt"/>
                <a:cs typeface="Prompt"/>
              </a:rPr>
              <a:t>Breakout Session?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19" name="Freeform 6">
            <a:extLst>
              <a:ext uri="{FF2B5EF4-FFF2-40B4-BE49-F238E27FC236}">
                <a16:creationId xmlns:a16="http://schemas.microsoft.com/office/drawing/2014/main" id="{69B6B7F5-0814-52E5-DC91-550599718ADA}"/>
              </a:ext>
            </a:extLst>
          </p:cNvPr>
          <p:cNvSpPr/>
          <p:nvPr/>
        </p:nvSpPr>
        <p:spPr>
          <a:xfrm>
            <a:off x="5696650" y="4301703"/>
            <a:ext cx="6152571" cy="2357797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FF70AE4-9AF0-75FE-8520-8A3427521F2B}"/>
              </a:ext>
            </a:extLst>
          </p:cNvPr>
          <p:cNvSpPr txBox="1"/>
          <p:nvPr/>
        </p:nvSpPr>
        <p:spPr>
          <a:xfrm>
            <a:off x="6938513" y="4638136"/>
            <a:ext cx="4180935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600" b="1">
                <a:solidFill>
                  <a:srgbClr val="144B90"/>
                </a:solidFill>
                <a:latin typeface="Prompt"/>
                <a:cs typeface="Segoe UI"/>
              </a:rPr>
              <a:t>Interested in Volunteering on the Face-to-Face Planning Committee?</a:t>
            </a:r>
            <a:endParaRPr lang="en-US"/>
          </a:p>
        </p:txBody>
      </p:sp>
      <p:pic>
        <p:nvPicPr>
          <p:cNvPr id="21" name="Picture 20" descr="A poster with hands raised&#10;&#10;Description automatically generated">
            <a:extLst>
              <a:ext uri="{FF2B5EF4-FFF2-40B4-BE49-F238E27FC236}">
                <a16:creationId xmlns:a16="http://schemas.microsoft.com/office/drawing/2014/main" id="{4D872AB4-619D-ECAA-EBA3-1B41B673649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942" y="135147"/>
            <a:ext cx="5062116" cy="6573327"/>
          </a:xfrm>
          <a:prstGeom prst="rect">
            <a:avLst/>
          </a:prstGeom>
        </p:spPr>
      </p:pic>
      <p:sp>
        <p:nvSpPr>
          <p:cNvPr id="2" name="Freeform 2">
            <a:extLst>
              <a:ext uri="{FF2B5EF4-FFF2-40B4-BE49-F238E27FC236}">
                <a16:creationId xmlns:a16="http://schemas.microsoft.com/office/drawing/2014/main" id="{2B173B5D-F90F-66F4-E5DE-807C02C7D380}"/>
              </a:ext>
            </a:extLst>
          </p:cNvPr>
          <p:cNvSpPr/>
          <p:nvPr/>
        </p:nvSpPr>
        <p:spPr>
          <a:xfrm>
            <a:off x="1796749" y="213135"/>
            <a:ext cx="1733828" cy="827039"/>
          </a:xfrm>
          <a:custGeom>
            <a:avLst/>
            <a:gdLst/>
            <a:ahLst/>
            <a:cxnLst/>
            <a:rect l="l" t="t" r="r" b="b"/>
            <a:pathLst>
              <a:path w="4541685" h="2124765">
                <a:moveTo>
                  <a:pt x="0" y="0"/>
                </a:moveTo>
                <a:lnTo>
                  <a:pt x="4541685" y="0"/>
                </a:lnTo>
                <a:lnTo>
                  <a:pt x="4541685" y="2124765"/>
                </a:lnTo>
                <a:lnTo>
                  <a:pt x="0" y="2124765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sp>
      <p:sp>
        <p:nvSpPr>
          <p:cNvPr id="22" name="Double Wave 21">
            <a:extLst>
              <a:ext uri="{FF2B5EF4-FFF2-40B4-BE49-F238E27FC236}">
                <a16:creationId xmlns:a16="http://schemas.microsoft.com/office/drawing/2014/main" id="{8ABA3E72-0F12-C088-6AD1-F2AC98F861D2}"/>
              </a:ext>
            </a:extLst>
          </p:cNvPr>
          <p:cNvSpPr/>
          <p:nvPr/>
        </p:nvSpPr>
        <p:spPr>
          <a:xfrm>
            <a:off x="6288835" y="2843212"/>
            <a:ext cx="5449019" cy="1063924"/>
          </a:xfrm>
          <a:prstGeom prst="doubleWav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chemeClr val="tx2"/>
                </a:solidFill>
                <a:ea typeface="Calibri"/>
                <a:cs typeface="Calibri"/>
              </a:rPr>
              <a:t>Email</a:t>
            </a:r>
            <a:r>
              <a:rPr lang="en-US" sz="2800">
                <a:ea typeface="Calibri"/>
                <a:cs typeface="Calibri"/>
              </a:rPr>
              <a:t> </a:t>
            </a:r>
            <a:r>
              <a:rPr lang="en-US" sz="2800">
                <a:ea typeface="Calibri"/>
                <a:cs typeface="Calibri"/>
                <a:hlinkClick r:id="rId6"/>
              </a:rPr>
              <a:t>info@ilpqc.org</a:t>
            </a:r>
            <a:endParaRPr lang="en-US" sz="280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9026231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" name="Google Shape;12697;p4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en-US" dirty="0"/>
              <a:t>2024 BE Goals</a:t>
            </a:r>
          </a:p>
        </p:txBody>
      </p:sp>
      <p:sp>
        <p:nvSpPr>
          <p:cNvPr id="12698" name="Google Shape;12698;p4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2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704" name="Google Shape;12704;p1191" descr="Woman holding a baby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 l="-5541"/>
          <a:stretch/>
        </p:blipFill>
        <p:spPr>
          <a:xfrm>
            <a:off x="1556310" y="1282"/>
            <a:ext cx="11228697" cy="6856718"/>
          </a:xfrm>
          <a:prstGeom prst="rect">
            <a:avLst/>
          </a:prstGeom>
          <a:noFill/>
          <a:ln>
            <a:noFill/>
          </a:ln>
        </p:spPr>
      </p:pic>
      <p:sp>
        <p:nvSpPr>
          <p:cNvPr id="12705" name="Google Shape;12705;p1191"/>
          <p:cNvSpPr txBox="1">
            <a:spLocks noGrp="1"/>
          </p:cNvSpPr>
          <p:nvPr>
            <p:ph type="ftr" idx="11"/>
          </p:nvPr>
        </p:nvSpPr>
        <p:spPr>
          <a:xfrm>
            <a:off x="757227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sp>
        <p:nvSpPr>
          <p:cNvPr id="12706" name="Google Shape;12706;p119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solidFill>
                  <a:srgbClr val="FFFFFF"/>
                </a:solidFill>
              </a:rPr>
              <a:t>41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2707" name="Google Shape;12707;p1191"/>
          <p:cNvSpPr txBox="1"/>
          <p:nvPr/>
        </p:nvSpPr>
        <p:spPr>
          <a:xfrm>
            <a:off x="153095" y="109609"/>
            <a:ext cx="5617882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uilding the infrastructure to sustain Birth Equity work</a:t>
            </a:r>
            <a:endParaRPr sz="12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08" name="Google Shape;12708;p1191"/>
          <p:cNvSpPr/>
          <p:nvPr/>
        </p:nvSpPr>
        <p:spPr>
          <a:xfrm>
            <a:off x="61968" y="1245192"/>
            <a:ext cx="6686734" cy="5611526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2857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1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024 BE Goals:</a:t>
            </a:r>
            <a:endParaRPr dirty="0"/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AutoNum type="arabicPeriod"/>
            </a:pPr>
            <a:r>
              <a:rPr lang="en-US" sz="2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ontinue to build partnerships with patients and community</a:t>
            </a:r>
            <a:endParaRPr sz="20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914400" marR="0" lvl="1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Host Respectful Care Breakfasts</a:t>
            </a:r>
            <a:endParaRPr sz="20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914400" marR="0" lvl="1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atient Partner on QI team</a:t>
            </a:r>
            <a:endParaRPr sz="2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914400" marR="0" lvl="1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uild relationships with community partners to improve patient linkage </a:t>
            </a:r>
            <a:r>
              <a:rPr lang="en-US" sz="2000" dirty="0"/>
              <a:t>(ex. </a:t>
            </a:r>
            <a:r>
              <a:rPr lang="en-US" sz="2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ommunity Doulas and Home Visiting Programs)</a:t>
            </a:r>
            <a:endParaRPr sz="2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914400" marR="0" lvl="1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xpand Birth Equity strategies to outpatient sites</a:t>
            </a:r>
            <a:endParaRPr dirty="0"/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AutoNum type="arabicPeriod"/>
            </a:pPr>
            <a:r>
              <a:rPr lang="en-US" sz="2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% PREM survey completion &gt; 10% to obtain patient feedback &amp; continue to improve respectful care</a:t>
            </a:r>
            <a:endParaRPr dirty="0"/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AutoNum type="arabicPeriod"/>
            </a:pPr>
            <a:r>
              <a:rPr lang="en-US" sz="2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tratify data &amp; take action on disparities</a:t>
            </a:r>
            <a:endParaRPr dirty="0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900E83-E0C0-A0D1-6B82-D6AB62974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57" y="320675"/>
            <a:ext cx="8242169" cy="1325563"/>
          </a:xfrm>
        </p:spPr>
        <p:txBody>
          <a:bodyPr/>
          <a:lstStyle/>
          <a:p>
            <a:r>
              <a:rPr lang="en-US" dirty="0"/>
              <a:t>Achieving Birth Equity QI Excellence Award by Face-to-Face Meeting May 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0DED57-40FF-095C-C5DD-2B1DC27C5F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All data submitted</a:t>
            </a:r>
            <a:r>
              <a:rPr lang="en-US" b="0" i="0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7/7 key structure measures in place</a:t>
            </a:r>
            <a:r>
              <a:rPr lang="en-US" b="0" i="0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​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F497D"/>
                </a:solidFill>
                <a:latin typeface="Calibri" panose="020F0502020204030204" pitchFamily="34" charset="0"/>
              </a:rPr>
              <a:t>Achieve key BE goals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Provider, nurse, and staff education </a:t>
            </a:r>
            <a:r>
              <a:rPr lang="en-US" b="0" i="0" u="sng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&gt;</a:t>
            </a: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70% </a:t>
            </a:r>
            <a:r>
              <a:rPr lang="en-US" b="0" i="0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b="0" i="0" u="none" strike="noStrike" dirty="0" err="1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SDoH</a:t>
            </a: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delivery admission screening </a:t>
            </a:r>
            <a:r>
              <a:rPr lang="en-US" b="0" i="0" u="sng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&gt;</a:t>
            </a: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70%</a:t>
            </a:r>
            <a:r>
              <a:rPr lang="en-US" b="0" i="0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b="0" i="0" u="none" strike="noStrike" dirty="0" err="1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SDoH</a:t>
            </a: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screen positive linkage to resources </a:t>
            </a:r>
            <a:r>
              <a:rPr lang="en-US" b="0" i="0" u="sng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&gt;</a:t>
            </a: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70%</a:t>
            </a:r>
            <a:r>
              <a:rPr lang="en-US" b="0" i="0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PREM completion rate </a:t>
            </a:r>
            <a:r>
              <a:rPr lang="en-US" b="0" i="0" u="sng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&gt;</a:t>
            </a: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10%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948CD5-93AC-0FC1-73C4-D3FEF8C60AD0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sz="2800" dirty="0"/>
              <a:t>Reach out to Aleena &amp; Alana for a 1:1 QI support call if there are any measures you need support to achieve BE QI Excellence</a:t>
            </a:r>
          </a:p>
          <a:p>
            <a:r>
              <a:rPr lang="en-US" sz="2800" dirty="0"/>
              <a:t>We will reach out to teams who are still working on having all structure measures in place</a:t>
            </a:r>
          </a:p>
          <a:p>
            <a:r>
              <a:rPr lang="en-US" sz="2800" dirty="0"/>
              <a:t>Email info@ilpqc.or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1A6727-0C3D-85DA-1EB3-1BC54F2BADF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03698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14" name="Google Shape;12714;p42"/>
          <p:cNvSpPr txBox="1">
            <a:spLocks noGrp="1"/>
          </p:cNvSpPr>
          <p:nvPr>
            <p:ph type="title"/>
          </p:nvPr>
        </p:nvSpPr>
        <p:spPr>
          <a:xfrm>
            <a:off x="247581" y="172509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 dirty="0"/>
              <a:t>Upcoming BE Calls</a:t>
            </a:r>
            <a:endParaRPr dirty="0"/>
          </a:p>
        </p:txBody>
      </p:sp>
      <p:sp>
        <p:nvSpPr>
          <p:cNvPr id="12715" name="Google Shape;12715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rPr>
              <a:t>43</a:t>
            </a:fld>
            <a:endParaRPr sz="1200" b="0" i="0" u="none" strike="noStrike" cap="none">
              <a:solidFill>
                <a:srgbClr val="AEB3B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16" name="Google Shape;12716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r>
              <a:rPr lang="en-US" sz="1200" b="0" i="0" u="none" strike="noStrike" cap="none" dirty="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 dirty="0"/>
          </a:p>
        </p:txBody>
      </p:sp>
      <p:graphicFrame>
        <p:nvGraphicFramePr>
          <p:cNvPr id="12717" name="Google Shape;12717;p42"/>
          <p:cNvGraphicFramePr/>
          <p:nvPr>
            <p:extLst>
              <p:ext uri="{D42A27DB-BD31-4B8C-83A1-F6EECF244321}">
                <p14:modId xmlns:p14="http://schemas.microsoft.com/office/powerpoint/2010/main" val="1171000950"/>
              </p:ext>
            </p:extLst>
          </p:nvPr>
        </p:nvGraphicFramePr>
        <p:xfrm>
          <a:off x="244415" y="1624641"/>
          <a:ext cx="9728675" cy="4196963"/>
        </p:xfrm>
        <a:graphic>
          <a:graphicData uri="http://schemas.openxmlformats.org/drawingml/2006/table">
            <a:tbl>
              <a:tblPr firstRow="1" bandRow="1">
                <a:noFill/>
                <a:tableStyleId>{907AF9B1-F0F0-4187-A23C-68A95F3377F3}</a:tableStyleId>
              </a:tblPr>
              <a:tblGrid>
                <a:gridCol w="5552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76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442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sng" strike="noStrike" cap="none" dirty="0">
                          <a:solidFill>
                            <a:srgbClr val="000000"/>
                          </a:solidFill>
                        </a:rPr>
                        <a:t>Event </a:t>
                      </a:r>
                      <a:endParaRPr sz="1400" u="none" strike="noStrike" cap="none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sng" strike="noStrike" cap="none" dirty="0">
                          <a:solidFill>
                            <a:srgbClr val="000000"/>
                          </a:solidFill>
                        </a:rPr>
                        <a:t>Day/Time </a:t>
                      </a:r>
                      <a:endParaRPr sz="1400" u="none" strike="noStrike" cap="none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49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BE March Webinar</a:t>
                      </a: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 – </a:t>
                      </a:r>
                      <a:r>
                        <a:rPr lang="en-US" sz="2400" b="1" i="1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Expanding patient access to Community Doulas</a:t>
                      </a:r>
                      <a:endParaRPr sz="2400" b="1" i="1" u="none" strike="noStrike" cap="none" dirty="0">
                        <a:solidFill>
                          <a:schemeClr val="accen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onday, March 18th 12-1pm CT</a:t>
                      </a:r>
                      <a:endParaRPr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49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BE April Webinar</a:t>
                      </a: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 – </a:t>
                      </a:r>
                      <a:r>
                        <a:rPr lang="en-US" sz="2400" b="1" i="1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Expanding patient access to home visiting programs</a:t>
                      </a:r>
                      <a:endParaRPr sz="2400" b="1" i="1" u="none" strike="noStrike" cap="none" dirty="0">
                        <a:solidFill>
                          <a:schemeClr val="accen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onday, April 15th 12-1pm CT</a:t>
                      </a:r>
                      <a:endParaRPr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49100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1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ILPQC Face-to-Face Conference</a:t>
                      </a:r>
                      <a:endParaRPr sz="2400" b="1" i="1" u="none" strike="noStrike" cap="none" dirty="0">
                        <a:solidFill>
                          <a:schemeClr val="accen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50" marR="91450" marT="45724" marB="45724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OB Focus: Wednesday, May 22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Neo Focus: Thursday, May 23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1" u="none" strike="noStrike" cap="none" dirty="0">
                          <a:solidFill>
                            <a:schemeClr val="accent1"/>
                          </a:solidFill>
                          <a:latin typeface="Calibri"/>
                          <a:cs typeface="Calibri"/>
                        </a:rPr>
                        <a:t>Attendees are encouraged to attend both days!</a:t>
                      </a:r>
                    </a:p>
                  </a:txBody>
                  <a:tcPr marL="91450" marR="91450" marT="45724" marB="45724"/>
                </a:tc>
                <a:extLst>
                  <a:ext uri="{0D108BD9-81ED-4DB2-BD59-A6C34878D82A}">
                    <a16:rowId xmlns:a16="http://schemas.microsoft.com/office/drawing/2014/main" val="3260839331"/>
                  </a:ext>
                </a:extLst>
              </a:tr>
            </a:tbl>
          </a:graphicData>
        </a:graphic>
      </p:graphicFrame>
      <p:pic>
        <p:nvPicPr>
          <p:cNvPr id="12718" name="Google Shape;12718;p42" descr="Daily calendar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5910" y="2089272"/>
            <a:ext cx="2707630" cy="267631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6709A7-5FE5-2422-4E45-C2CE24AAAC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7214647" cy="1325563"/>
          </a:xfrm>
        </p:spPr>
        <p:txBody>
          <a:bodyPr/>
          <a:lstStyle/>
          <a:p>
            <a:r>
              <a:rPr lang="en-US" dirty="0"/>
              <a:t>Moving Birth Equity to Sustainabil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D1216B-8B7D-19B9-A407-82DACB78D3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t Face-to-Face meeting, we will confirm teams feel ready to start moving into sustainability</a:t>
            </a:r>
          </a:p>
          <a:p>
            <a:r>
              <a:rPr lang="en-US" dirty="0"/>
              <a:t>Starting June 2024, likely move to quarterly BE webinars</a:t>
            </a:r>
          </a:p>
          <a:p>
            <a:r>
              <a:rPr lang="en-US" dirty="0"/>
              <a:t>Teams will complete a BE Sustainability Plan</a:t>
            </a:r>
          </a:p>
          <a:p>
            <a:r>
              <a:rPr lang="en-US" dirty="0"/>
              <a:t>For sustainability, teams will have key Birth Equity strategies in place:</a:t>
            </a:r>
          </a:p>
          <a:p>
            <a:pPr lvl="1"/>
            <a:r>
              <a:rPr lang="en-US" dirty="0"/>
              <a:t>Achieve Birth Equity initiative aims </a:t>
            </a:r>
          </a:p>
          <a:p>
            <a:pPr lvl="1"/>
            <a:r>
              <a:rPr lang="en-US" dirty="0"/>
              <a:t>Patient partner on QI team</a:t>
            </a:r>
          </a:p>
          <a:p>
            <a:pPr lvl="1"/>
            <a:r>
              <a:rPr lang="en-US" dirty="0"/>
              <a:t>Respectful Care Breakfast</a:t>
            </a:r>
          </a:p>
          <a:p>
            <a:pPr lvl="1"/>
            <a:r>
              <a:rPr lang="en-US" dirty="0"/>
              <a:t>Process flows for linking patients to community doulas and home visiting programs &amp; sharing those resources/contacts with outpatient sit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45F8A9-6AE1-5417-B3EC-C18B9C8489A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5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4" name="Google Shape;12724;p11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900"/>
              <a:buNone/>
            </a:pPr>
            <a:fld id="{00000000-1234-1234-1234-123412341234}" type="slidenum">
              <a:rPr lang="en-US" dirty="0"/>
              <a:t>45</a:t>
            </a:fld>
            <a:endParaRPr dirty="0"/>
          </a:p>
        </p:txBody>
      </p:sp>
      <p:sp>
        <p:nvSpPr>
          <p:cNvPr id="12725" name="Google Shape;12725;p1192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900"/>
              <a:buNone/>
            </a:pPr>
            <a:r>
              <a:rPr lang="en-US"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pic>
        <p:nvPicPr>
          <p:cNvPr id="12726" name="Google Shape;12726;p11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5438" y="0"/>
            <a:ext cx="6173327" cy="6397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27" name="Google Shape;12727;p1192" descr="A text on a black background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162136" y="2198002"/>
            <a:ext cx="6107502" cy="4201655"/>
          </a:xfrm>
          <a:prstGeom prst="rect">
            <a:avLst/>
          </a:prstGeom>
          <a:noFill/>
          <a:ln>
            <a:noFill/>
          </a:ln>
        </p:spPr>
      </p:pic>
      <p:sp>
        <p:nvSpPr>
          <p:cNvPr id="12728" name="Google Shape;12728;p1192"/>
          <p:cNvSpPr/>
          <p:nvPr/>
        </p:nvSpPr>
        <p:spPr>
          <a:xfrm>
            <a:off x="6799951" y="-90"/>
            <a:ext cx="5391508" cy="1437735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29" name="Google Shape;12729;p1192"/>
          <p:cNvSpPr txBox="1"/>
          <p:nvPr/>
        </p:nvSpPr>
        <p:spPr>
          <a:xfrm>
            <a:off x="7506329" y="574195"/>
            <a:ext cx="3245149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00" b="1" i="0" u="none" strike="noStrike" cap="none">
                <a:solidFill>
                  <a:srgbClr val="083C92"/>
                </a:solidFill>
                <a:latin typeface="Arial"/>
                <a:ea typeface="Arial"/>
                <a:cs typeface="Arial"/>
                <a:sym typeface="Arial"/>
              </a:rPr>
              <a:t>ILPQC </a:t>
            </a:r>
            <a:endParaRPr sz="3900" b="0" i="0" u="none" strike="noStrike" cap="none">
              <a:solidFill>
                <a:srgbClr val="083C9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00" b="1" i="0" u="none" strike="noStrike" cap="none">
                <a:solidFill>
                  <a:srgbClr val="083C92"/>
                </a:solidFill>
                <a:latin typeface="Arial"/>
                <a:ea typeface="Arial"/>
                <a:cs typeface="Arial"/>
                <a:sym typeface="Arial"/>
              </a:rPr>
              <a:t>2024 Events</a:t>
            </a:r>
            <a:endParaRPr sz="3900" b="0" i="0" u="none" strike="noStrike" cap="none">
              <a:solidFill>
                <a:srgbClr val="083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730" name="Google Shape;12730;p1192" descr="Balloons outline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87064" y="139460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31" name="Google Shape;12731;p1192" descr="Dance outline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570234" y="1289649"/>
            <a:ext cx="914400" cy="9144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C9430-B97F-AD6C-FFC9-4861D9548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7639251" cy="1325563"/>
          </a:xfrm>
        </p:spPr>
        <p:txBody>
          <a:bodyPr/>
          <a:lstStyle/>
          <a:p>
            <a:r>
              <a:rPr lang="en-US" dirty="0"/>
              <a:t>Patient Engagement is key to sustainability of Birth Equ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8FA41E-1C81-3CFF-BD75-EC8B2CCD60D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</a:t>
            </a:fld>
            <a:endParaRPr lang="en-US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B96F30E7-4363-890E-F21C-A02F352B3A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5183068"/>
              </p:ext>
            </p:extLst>
          </p:nvPr>
        </p:nvGraphicFramePr>
        <p:xfrm>
          <a:off x="966839" y="1272459"/>
          <a:ext cx="10258321" cy="5148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13821A1-C695-4E02-AC21-A8513ABE8570}"/>
              </a:ext>
            </a:extLst>
          </p:cNvPr>
          <p:cNvSpPr txBox="1"/>
          <p:nvPr/>
        </p:nvSpPr>
        <p:spPr>
          <a:xfrm>
            <a:off x="1963554" y="5585541"/>
            <a:ext cx="84702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Adding questions on Patient Partners and Respectful Care Breakfast to Birth Equity Data Form as will be required for Sustainability</a:t>
            </a:r>
          </a:p>
        </p:txBody>
      </p:sp>
    </p:spTree>
    <p:extLst>
      <p:ext uri="{BB962C8B-B14F-4D97-AF65-F5344CB8AC3E}">
        <p14:creationId xmlns:p14="http://schemas.microsoft.com/office/powerpoint/2010/main" val="12882502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65" name="Google Shape;11965;p113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en-US" dirty="0"/>
              <a:t>BE Data Form Updates</a:t>
            </a:r>
          </a:p>
        </p:txBody>
      </p:sp>
      <p:sp>
        <p:nvSpPr>
          <p:cNvPr id="11966" name="Google Shape;11966;p113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sz="2000" i="1" dirty="0">
                <a:solidFill>
                  <a:srgbClr val="1C498B"/>
                </a:solidFill>
              </a:rPr>
              <a:t>Review of new questions added to BE monthly hospital level measures data form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DB6862-3D01-AA23-A463-DF1F3E266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503" y="-36359"/>
            <a:ext cx="10972800" cy="1325563"/>
          </a:xfrm>
        </p:spPr>
        <p:txBody>
          <a:bodyPr/>
          <a:lstStyle/>
          <a:p>
            <a:r>
              <a:rPr lang="en-US" dirty="0"/>
              <a:t>Respectful Care Breakfast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62BF5F-928E-2E48-1860-2753474517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006271"/>
            <a:ext cx="10964607" cy="5170692"/>
          </a:xfrm>
        </p:spPr>
        <p:txBody>
          <a:bodyPr/>
          <a:lstStyle/>
          <a:p>
            <a:r>
              <a:rPr lang="en-US" sz="1400" b="1" dirty="0">
                <a:solidFill>
                  <a:srgbClr val="201F1E"/>
                </a:solidFill>
              </a:rPr>
              <a:t>Has your team hosted a respectful care breakfast? </a:t>
            </a:r>
            <a:endParaRPr lang="en-US" sz="1400" b="1"/>
          </a:p>
          <a:p>
            <a:pPr lvl="1">
              <a:buClr>
                <a:srgbClr val="1C498B"/>
              </a:buClr>
            </a:pPr>
            <a:r>
              <a:rPr lang="en-US" sz="1400" dirty="0">
                <a:solidFill>
                  <a:srgbClr val="201F1E"/>
                </a:solidFill>
              </a:rPr>
              <a:t>Yes, No, Planned  </a:t>
            </a:r>
            <a:endParaRPr lang="en-US" sz="1400" dirty="0"/>
          </a:p>
          <a:p>
            <a:r>
              <a:rPr lang="en-US" sz="1400" b="1" dirty="0">
                <a:solidFill>
                  <a:srgbClr val="201F1E"/>
                </a:solidFill>
              </a:rPr>
              <a:t>If planned, what is the date? </a:t>
            </a:r>
            <a:r>
              <a:rPr lang="en-US" sz="1400" dirty="0">
                <a:solidFill>
                  <a:srgbClr val="201F1E"/>
                </a:solidFill>
              </a:rPr>
              <a:t>(free text) </a:t>
            </a:r>
            <a:endParaRPr lang="en-US" sz="1400"/>
          </a:p>
          <a:p>
            <a:r>
              <a:rPr lang="en-US" sz="1400" b="1" dirty="0">
                <a:solidFill>
                  <a:srgbClr val="201F1E"/>
                </a:solidFill>
              </a:rPr>
              <a:t>If yes, when was the breakfast held? </a:t>
            </a:r>
            <a:endParaRPr lang="en-US" sz="1400" b="1" dirty="0"/>
          </a:p>
          <a:p>
            <a:pPr lvl="1">
              <a:buClr>
                <a:srgbClr val="1C498B"/>
              </a:buClr>
            </a:pPr>
            <a:r>
              <a:rPr lang="en-US" sz="1400" dirty="0">
                <a:solidFill>
                  <a:srgbClr val="201F1E"/>
                </a:solidFill>
              </a:rPr>
              <a:t>Date entered here </a:t>
            </a:r>
            <a:endParaRPr lang="en-US" sz="1400" dirty="0"/>
          </a:p>
          <a:p>
            <a:r>
              <a:rPr lang="en-US" sz="1400" b="1" dirty="0">
                <a:solidFill>
                  <a:srgbClr val="201F1E"/>
                </a:solidFill>
              </a:rPr>
              <a:t>If yes, how many people attended? </a:t>
            </a:r>
            <a:r>
              <a:rPr lang="en-US" sz="1400" dirty="0">
                <a:solidFill>
                  <a:srgbClr val="201F1E"/>
                </a:solidFill>
              </a:rPr>
              <a:t>(free text)</a:t>
            </a:r>
            <a:endParaRPr lang="en-US" sz="1400" b="1" dirty="0"/>
          </a:p>
          <a:p>
            <a:r>
              <a:rPr lang="en-US" sz="1400" b="1" dirty="0">
                <a:solidFill>
                  <a:srgbClr val="201F1E"/>
                </a:solidFill>
              </a:rPr>
              <a:t>If yes, did any attendees complete the post-event survey? </a:t>
            </a:r>
            <a:endParaRPr lang="en-US" sz="1400" b="1" dirty="0"/>
          </a:p>
          <a:p>
            <a:pPr lvl="1">
              <a:buClr>
                <a:srgbClr val="1C498B"/>
              </a:buClr>
            </a:pPr>
            <a:r>
              <a:rPr lang="en-US" sz="1400" dirty="0">
                <a:solidFill>
                  <a:srgbClr val="201F1E"/>
                </a:solidFill>
              </a:rPr>
              <a:t>Yes, No </a:t>
            </a:r>
            <a:endParaRPr lang="en-US" sz="1400" dirty="0"/>
          </a:p>
          <a:p>
            <a:pPr>
              <a:buClr>
                <a:srgbClr val="F5668F"/>
              </a:buClr>
            </a:pPr>
            <a:r>
              <a:rPr lang="en-US" sz="1400" b="1" dirty="0">
                <a:solidFill>
                  <a:srgbClr val="201F1E"/>
                </a:solidFill>
              </a:rPr>
              <a:t>If yes, did you review the post-event survey results with your BE team?</a:t>
            </a:r>
            <a:endParaRPr lang="en-US" sz="1400" b="1" dirty="0"/>
          </a:p>
          <a:p>
            <a:pPr lvl="1">
              <a:buClr>
                <a:srgbClr val="1C498B"/>
              </a:buClr>
            </a:pPr>
            <a:r>
              <a:rPr lang="en-US" sz="1400" dirty="0">
                <a:solidFill>
                  <a:srgbClr val="201F1E"/>
                </a:solidFill>
              </a:rPr>
              <a:t>Yes, No </a:t>
            </a:r>
            <a:endParaRPr lang="en-US" sz="1400" dirty="0"/>
          </a:p>
          <a:p>
            <a:r>
              <a:rPr lang="en-US" sz="1400" b="1" dirty="0">
                <a:solidFill>
                  <a:srgbClr val="201F1E"/>
                </a:solidFill>
              </a:rPr>
              <a:t>If yes, what was the biggest success of the event?</a:t>
            </a:r>
            <a:r>
              <a:rPr lang="en-US" sz="1400" dirty="0">
                <a:solidFill>
                  <a:srgbClr val="201F1E"/>
                </a:solidFill>
              </a:rPr>
              <a:t> (free text)</a:t>
            </a:r>
            <a:endParaRPr lang="en-US" sz="1400" dirty="0"/>
          </a:p>
          <a:p>
            <a:r>
              <a:rPr lang="en-US" sz="1400" b="1" dirty="0">
                <a:solidFill>
                  <a:srgbClr val="201F1E"/>
                </a:solidFill>
              </a:rPr>
              <a:t>What are your plans for holding future respectful care breakfasts? </a:t>
            </a:r>
            <a:r>
              <a:rPr lang="en-US" sz="1400" dirty="0">
                <a:solidFill>
                  <a:srgbClr val="201F1E"/>
                </a:solidFill>
              </a:rPr>
              <a:t>(free text)</a:t>
            </a:r>
            <a:endParaRPr lang="en-US" sz="1400" dirty="0"/>
          </a:p>
          <a:p>
            <a:r>
              <a:rPr lang="en-US" sz="1400" b="1" dirty="0">
                <a:solidFill>
                  <a:srgbClr val="201F1E"/>
                </a:solidFill>
              </a:rPr>
              <a:t>Will you hold respectful care breakfasts:</a:t>
            </a:r>
            <a:endParaRPr lang="en-US" sz="1400" b="1" dirty="0"/>
          </a:p>
          <a:p>
            <a:pPr lvl="1">
              <a:buClr>
                <a:srgbClr val="1C498B"/>
              </a:buClr>
            </a:pPr>
            <a:r>
              <a:rPr lang="en-US" sz="1400" dirty="0">
                <a:solidFill>
                  <a:srgbClr val="201F1E"/>
                </a:solidFill>
              </a:rPr>
              <a:t>Quarterly, Bi-annually, Other (free text)</a:t>
            </a:r>
            <a:endParaRPr lang="en-US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237E91-DCF6-872D-CAEA-D97C786B7F7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1822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07BA60-D3C9-99CE-AB3E-211B43C03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61" y="94738"/>
            <a:ext cx="10972800" cy="1325563"/>
          </a:xfrm>
        </p:spPr>
        <p:txBody>
          <a:bodyPr/>
          <a:lstStyle/>
          <a:p>
            <a:r>
              <a:rPr lang="en-US" dirty="0"/>
              <a:t>Patient Partner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2EC36E-2E77-B712-8946-A0B5A0626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522464"/>
            <a:ext cx="10972800" cy="4351338"/>
          </a:xfrm>
        </p:spPr>
        <p:txBody>
          <a:bodyPr/>
          <a:lstStyle/>
          <a:p>
            <a:r>
              <a:rPr lang="en-US" sz="1800" b="1" dirty="0">
                <a:solidFill>
                  <a:srgbClr val="201F1E"/>
                </a:solidFill>
              </a:rPr>
              <a:t>Has your BE team identified a patient partner? </a:t>
            </a:r>
            <a:endParaRPr lang="en-US" sz="1800" b="1"/>
          </a:p>
          <a:p>
            <a:pPr lvl="1">
              <a:buClr>
                <a:srgbClr val="1C498B"/>
              </a:buClr>
            </a:pPr>
            <a:r>
              <a:rPr lang="en-US" sz="1800" dirty="0">
                <a:solidFill>
                  <a:srgbClr val="201F1E"/>
                </a:solidFill>
              </a:rPr>
              <a:t>Yes, No </a:t>
            </a:r>
            <a:endParaRPr lang="en-US" sz="1800"/>
          </a:p>
          <a:p>
            <a:r>
              <a:rPr lang="en-US" sz="1800" b="1" dirty="0">
                <a:solidFill>
                  <a:srgbClr val="201F1E"/>
                </a:solidFill>
              </a:rPr>
              <a:t>If yes, what is their name? </a:t>
            </a:r>
            <a:endParaRPr lang="en-US" sz="1800" b="1"/>
          </a:p>
          <a:p>
            <a:pPr lvl="1">
              <a:buClr>
                <a:srgbClr val="1C498B"/>
              </a:buClr>
            </a:pPr>
            <a:r>
              <a:rPr lang="en-US" sz="1800" b="1" dirty="0">
                <a:solidFill>
                  <a:srgbClr val="201F1E"/>
                </a:solidFill>
              </a:rPr>
              <a:t>Email? </a:t>
            </a:r>
            <a:endParaRPr lang="en-US" sz="1800" b="1"/>
          </a:p>
          <a:p>
            <a:pPr lvl="1">
              <a:buClr>
                <a:srgbClr val="1C498B"/>
              </a:buClr>
            </a:pPr>
            <a:r>
              <a:rPr lang="en-US" sz="1800" b="1" dirty="0">
                <a:solidFill>
                  <a:srgbClr val="201F1E"/>
                </a:solidFill>
              </a:rPr>
              <a:t>Phone Number? </a:t>
            </a:r>
            <a:endParaRPr lang="en-US" sz="1800" b="1"/>
          </a:p>
          <a:p>
            <a:r>
              <a:rPr lang="en-US" sz="1800" b="1" dirty="0">
                <a:solidFill>
                  <a:srgbClr val="201F1E"/>
                </a:solidFill>
              </a:rPr>
              <a:t>If yes, has your patient partner attended any QI team meetings?</a:t>
            </a:r>
            <a:endParaRPr lang="en-US" sz="1800" b="1"/>
          </a:p>
          <a:p>
            <a:pPr lvl="1">
              <a:buClr>
                <a:srgbClr val="1C498B"/>
              </a:buClr>
            </a:pPr>
            <a:r>
              <a:rPr lang="en-US" sz="1800" dirty="0">
                <a:solidFill>
                  <a:srgbClr val="201F1E"/>
                </a:solidFill>
              </a:rPr>
              <a:t>Yes, No </a:t>
            </a:r>
            <a:endParaRPr lang="en-US" sz="1800"/>
          </a:p>
          <a:p>
            <a:r>
              <a:rPr lang="en-US" sz="1800" b="1" dirty="0">
                <a:solidFill>
                  <a:srgbClr val="201F1E"/>
                </a:solidFill>
              </a:rPr>
              <a:t>If yes, how did you recruit/identify your patient partner? </a:t>
            </a:r>
            <a:r>
              <a:rPr lang="en-US" sz="1800" dirty="0">
                <a:solidFill>
                  <a:srgbClr val="201F1E"/>
                </a:solidFill>
              </a:rPr>
              <a:t>(free text) </a:t>
            </a:r>
            <a:endParaRPr lang="en-US" sz="1800"/>
          </a:p>
          <a:p>
            <a:r>
              <a:rPr lang="en-US" sz="1800" b="1" dirty="0">
                <a:solidFill>
                  <a:srgbClr val="201F1E"/>
                </a:solidFill>
              </a:rPr>
              <a:t>If yes, how did you onboard your patient partner? </a:t>
            </a:r>
            <a:r>
              <a:rPr lang="en-US" sz="1800" dirty="0">
                <a:solidFill>
                  <a:srgbClr val="201F1E"/>
                </a:solidFill>
              </a:rPr>
              <a:t>(free text) </a:t>
            </a:r>
            <a:endParaRPr lang="en-US" sz="180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3561F1-8DC3-8134-BDE5-7530E1F6F7E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354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D8A2F8-0F16-6E6E-EBE5-04CFD4400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ient Partner, Doula, &amp; Home Visting Po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85DE7F-6C3A-BDA0-DCA0-6B21F2689D6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5 minutes</a:t>
            </a:r>
          </a:p>
        </p:txBody>
      </p:sp>
    </p:spTree>
    <p:extLst>
      <p:ext uri="{BB962C8B-B14F-4D97-AF65-F5344CB8AC3E}">
        <p14:creationId xmlns:p14="http://schemas.microsoft.com/office/powerpoint/2010/main" val="154116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Retrospect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BFEDE1"/>
      </a:accent1>
      <a:accent2>
        <a:srgbClr val="00B7AD"/>
      </a:accent2>
      <a:accent3>
        <a:srgbClr val="BFEDE1"/>
      </a:accent3>
      <a:accent4>
        <a:srgbClr val="44C1A3"/>
      </a:accent4>
      <a:accent5>
        <a:srgbClr val="BFEDE1"/>
      </a:accent5>
      <a:accent6>
        <a:srgbClr val="00B7AD"/>
      </a:accent6>
      <a:hlink>
        <a:srgbClr val="00B7AD"/>
      </a:hlink>
      <a:folHlink>
        <a:srgbClr val="BFEDE1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D26EA377-59BD-4C9C-9D94-EE8416EE4C79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7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LPQC presentation template 050521" id="{674D30D3-C77E-E647-8D3B-83DDD22D03E9}" vid="{554A91CC-0DFA-5C44-A336-EAD772B121DE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Palatino Linotype"/>
        <a:ea typeface=""/>
        <a:cs typeface=""/>
      </a:majorFont>
      <a:minorFont>
        <a:latin typeface="Palatino Linoty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79</TotalTime>
  <Words>2256</Words>
  <Application>Microsoft Office PowerPoint</Application>
  <PresentationFormat>Widescreen</PresentationFormat>
  <Paragraphs>305</Paragraphs>
  <Slides>45</Slides>
  <Notes>17</Notes>
  <HiddenSlides>0</HiddenSlides>
  <MMClips>0</MMClips>
  <ScaleCrop>false</ScaleCrop>
  <HeadingPairs>
    <vt:vector size="4" baseType="variant">
      <vt:variant>
        <vt:lpstr>Theme</vt:lpstr>
      </vt:variant>
      <vt:variant>
        <vt:i4>11</vt:i4>
      </vt:variant>
      <vt:variant>
        <vt:lpstr>Slide Titles</vt:lpstr>
      </vt:variant>
      <vt:variant>
        <vt:i4>45</vt:i4>
      </vt:variant>
    </vt:vector>
  </HeadingPairs>
  <TitlesOfParts>
    <vt:vector size="56" baseType="lpstr">
      <vt:lpstr>3_Office Theme</vt:lpstr>
      <vt:lpstr>6_Office Theme</vt:lpstr>
      <vt:lpstr>1_Office Theme</vt:lpstr>
      <vt:lpstr>3_Office Theme</vt:lpstr>
      <vt:lpstr>Simple Light</vt:lpstr>
      <vt:lpstr>4_Office Theme</vt:lpstr>
      <vt:lpstr>7_Office Theme</vt:lpstr>
      <vt:lpstr>Office Theme</vt:lpstr>
      <vt:lpstr>2_Office Theme</vt:lpstr>
      <vt:lpstr>5_Office Theme</vt:lpstr>
      <vt:lpstr>Retrospect</vt:lpstr>
      <vt:lpstr>BE Teams Call – Holding Respectful Care Breakfasts: Lessons Learned</vt:lpstr>
      <vt:lpstr>Call Overview</vt:lpstr>
      <vt:lpstr>PowerPoint Presentation</vt:lpstr>
      <vt:lpstr>PowerPoint Presentation</vt:lpstr>
      <vt:lpstr>Patient Engagement is key to sustainability of Birth Equity</vt:lpstr>
      <vt:lpstr>BE Data Form Updates</vt:lpstr>
      <vt:lpstr>Respectful Care Breakfast Questions</vt:lpstr>
      <vt:lpstr>Patient Partner Questions</vt:lpstr>
      <vt:lpstr>Patient Partner, Doula, &amp; Home Visting Poll</vt:lpstr>
      <vt:lpstr>Birth Equity Data Review</vt:lpstr>
      <vt:lpstr>By May 2024, &gt; 70% of participating hospitals will have implemented each key strategy </vt:lpstr>
      <vt:lpstr>ILPQC Hospital Team Data Submission </vt:lpstr>
      <vt:lpstr>PowerPoint Presentation</vt:lpstr>
      <vt:lpstr>PREM Survey Completion goal &gt; 10%</vt:lpstr>
      <vt:lpstr>Why are Respectful Care Breakfasts important?</vt:lpstr>
      <vt:lpstr>Steps to Holding a Respectful Care Breakfast Before Face-to-Face Conference in May 2024</vt:lpstr>
      <vt:lpstr>Planning your Respectful Care Breakfast  - an overview</vt:lpstr>
      <vt:lpstr>How do you plan a Respectful Care Breakfast?</vt:lpstr>
      <vt:lpstr>How do you invite patients who have delivered at your hospital in the last 1-2 years?</vt:lpstr>
      <vt:lpstr>Invite Clinical Team Members</vt:lpstr>
      <vt:lpstr>How do you host a Respectful Care Breakfast? Sample Agenda &amp; Discussion Questions</vt:lpstr>
      <vt:lpstr>How do you sustain this strategy?</vt:lpstr>
      <vt:lpstr>Respectful Care Breakfast Planning Resource</vt:lpstr>
      <vt:lpstr>Post-Event Survey</vt:lpstr>
      <vt:lpstr>Team Sharing</vt:lpstr>
      <vt:lpstr>FHN Memorial Hospital</vt:lpstr>
      <vt:lpstr>Alexian Brothers Women and Children’s Hospital</vt:lpstr>
      <vt:lpstr>MacNeal Hospital</vt:lpstr>
      <vt:lpstr>Additional Resources / Announcements</vt:lpstr>
      <vt:lpstr>PowerPoint Presentation</vt:lpstr>
      <vt:lpstr>BE 30-60-90 Day Plan to Engage Patient Partners</vt:lpstr>
      <vt:lpstr>Example 30-60-90 Day Plan</vt:lpstr>
      <vt:lpstr>PQI SPEAK UP Champion Training Announcement – April 12th &amp; 19th 2024!  ILPQC sponsored FREE 2-day training</vt:lpstr>
      <vt:lpstr>IDPH resources to address increasing incidence of STIs   Congenital Syphilis Cases in Illinois</vt:lpstr>
      <vt:lpstr>Perinatal syphilis warmline launched 11/1/2023 </vt:lpstr>
      <vt:lpstr>All IDPH resources in one place!</vt:lpstr>
      <vt:lpstr>                             Illinois MIECHV   Working Together To Improve The Lives of    Mom’s and Babies </vt:lpstr>
      <vt:lpstr>WHAT IS MIECHV?????</vt:lpstr>
      <vt:lpstr>We Want To Be Part of Your Discharge Plans! </vt:lpstr>
      <vt:lpstr>2024 BE Goals</vt:lpstr>
      <vt:lpstr>PowerPoint Presentation</vt:lpstr>
      <vt:lpstr>Achieving Birth Equity QI Excellence Award by Face-to-Face Meeting May 2024</vt:lpstr>
      <vt:lpstr>Upcoming BE Calls</vt:lpstr>
      <vt:lpstr>Moving Birth Equity to Sustainabilit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 Teams Call – Sustainable Equity Strategies to Promote Postpartum Safety</dc:title>
  <dc:creator>Aleena Lida Surenian</dc:creator>
  <cp:lastModifiedBy>Aleena Lida Surenian</cp:lastModifiedBy>
  <cp:revision>500</cp:revision>
  <dcterms:created xsi:type="dcterms:W3CDTF">2023-02-21T14:56:45Z</dcterms:created>
  <dcterms:modified xsi:type="dcterms:W3CDTF">2024-02-15T15:17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4A7A73C8F0B488F2B94D68313F34F</vt:lpwstr>
  </property>
  <property fmtid="{D5CDD505-2E9C-101B-9397-08002B2CF9AE}" pid="3" name="MediaServiceImageTags">
    <vt:lpwstr/>
  </property>
</Properties>
</file>